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31" r:id="rId2"/>
    <p:sldId id="432" r:id="rId3"/>
    <p:sldId id="434" r:id="rId4"/>
    <p:sldId id="445" r:id="rId5"/>
    <p:sldId id="443" r:id="rId6"/>
    <p:sldId id="441" r:id="rId7"/>
    <p:sldId id="442" r:id="rId8"/>
    <p:sldId id="444" r:id="rId9"/>
    <p:sldId id="446" r:id="rId10"/>
    <p:sldId id="447" r:id="rId11"/>
    <p:sldId id="448" r:id="rId12"/>
    <p:sldId id="451" r:id="rId13"/>
    <p:sldId id="452" r:id="rId14"/>
    <p:sldId id="450" r:id="rId15"/>
    <p:sldId id="439" r:id="rId16"/>
  </p:sldIdLst>
  <p:sldSz cx="9144000" cy="6858000" type="screen4x3"/>
  <p:notesSz cx="6858000" cy="9144000"/>
  <p:custDataLst>
    <p:tags r:id="rId19"/>
  </p:custDataLst>
  <p:defaultTextStyle>
    <a:defPPr>
      <a:defRPr lang="it-IT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Regular"/>
        <a:ea typeface="Arial Regular"/>
        <a:cs typeface="Arial Regular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Regular"/>
        <a:ea typeface="Arial Regular"/>
        <a:cs typeface="Arial Regular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Regular"/>
        <a:ea typeface="Arial Regular"/>
        <a:cs typeface="Arial Regular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Regular"/>
        <a:ea typeface="Arial Regular"/>
        <a:cs typeface="Arial Regular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Regular"/>
        <a:ea typeface="Arial Regular"/>
        <a:cs typeface="Arial Regular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 Regular"/>
        <a:ea typeface="Arial Regular"/>
        <a:cs typeface="Arial Regular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 Regular"/>
        <a:ea typeface="Arial Regular"/>
        <a:cs typeface="Arial Regular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 Regular"/>
        <a:ea typeface="Arial Regular"/>
        <a:cs typeface="Arial Regular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 Regular"/>
        <a:ea typeface="Arial Regular"/>
        <a:cs typeface="Arial Regular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770">
          <p15:clr>
            <a:srgbClr val="A4A3A4"/>
          </p15:clr>
        </p15:guide>
        <p15:guide id="2" pos="550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B00000"/>
    <a:srgbClr val="D9D9D9"/>
    <a:srgbClr val="7C0000"/>
    <a:srgbClr val="E73139"/>
    <a:srgbClr val="BD1E20"/>
    <a:srgbClr val="DF4133"/>
    <a:srgbClr val="D22D32"/>
    <a:srgbClr val="7F7F7F"/>
    <a:srgbClr val="AF0819"/>
    <a:srgbClr val="BD0D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619" autoAdjust="0"/>
    <p:restoredTop sz="94660"/>
  </p:normalViewPr>
  <p:slideViewPr>
    <p:cSldViewPr snapToGrid="0" snapToObjects="1">
      <p:cViewPr varScale="1">
        <p:scale>
          <a:sx n="103" d="100"/>
          <a:sy n="103" d="100"/>
        </p:scale>
        <p:origin x="-1050" y="-90"/>
      </p:cViewPr>
      <p:guideLst>
        <p:guide orient="horz" pos="3770"/>
        <p:guide pos="55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CAF89D-F3A2-49C4-A329-37261D29356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CC522D4C-5B32-4794-9FE8-2A666181D956}">
      <dgm:prSet phldrT="[Text]" custT="1"/>
      <dgm:spPr/>
      <dgm:t>
        <a:bodyPr/>
        <a:lstStyle/>
        <a:p>
          <a:r>
            <a:rPr lang="hr-HR" sz="1800" dirty="0" smtClean="0"/>
            <a:t>Auto osiguranje</a:t>
          </a:r>
          <a:endParaRPr lang="hr-HR" sz="1800" dirty="0"/>
        </a:p>
      </dgm:t>
    </dgm:pt>
    <dgm:pt modelId="{C139AB97-92A9-4261-AF64-136F64B6C011}" type="parTrans" cxnId="{DE2FD91E-9F87-41C4-8241-CA870260E41C}">
      <dgm:prSet/>
      <dgm:spPr/>
      <dgm:t>
        <a:bodyPr/>
        <a:lstStyle/>
        <a:p>
          <a:endParaRPr lang="hr-HR"/>
        </a:p>
      </dgm:t>
    </dgm:pt>
    <dgm:pt modelId="{DFAB12B8-9806-4474-BB7F-2FF431919433}" type="sibTrans" cxnId="{DE2FD91E-9F87-41C4-8241-CA870260E41C}">
      <dgm:prSet/>
      <dgm:spPr/>
      <dgm:t>
        <a:bodyPr/>
        <a:lstStyle/>
        <a:p>
          <a:endParaRPr lang="hr-HR"/>
        </a:p>
      </dgm:t>
    </dgm:pt>
    <dgm:pt modelId="{6C4D79A6-2271-4B66-A652-9875D6D2038D}">
      <dgm:prSet phldrT="[Text]"/>
      <dgm:spPr/>
      <dgm:t>
        <a:bodyPr/>
        <a:lstStyle/>
        <a:p>
          <a:r>
            <a:rPr lang="hr-HR" dirty="0" smtClean="0"/>
            <a:t>Obvezno AO</a:t>
          </a:r>
        </a:p>
      </dgm:t>
    </dgm:pt>
    <dgm:pt modelId="{D925552B-C6EB-4978-B27C-D1A0BF257571}" type="parTrans" cxnId="{ED6A3769-E055-4832-95EF-A0490ACE23E8}">
      <dgm:prSet/>
      <dgm:spPr/>
      <dgm:t>
        <a:bodyPr/>
        <a:lstStyle/>
        <a:p>
          <a:endParaRPr lang="hr-HR"/>
        </a:p>
      </dgm:t>
    </dgm:pt>
    <dgm:pt modelId="{9F4DC0A1-E951-4EB4-9B24-45E5D2876482}" type="sibTrans" cxnId="{ED6A3769-E055-4832-95EF-A0490ACE23E8}">
      <dgm:prSet/>
      <dgm:spPr/>
      <dgm:t>
        <a:bodyPr/>
        <a:lstStyle/>
        <a:p>
          <a:endParaRPr lang="hr-HR"/>
        </a:p>
      </dgm:t>
    </dgm:pt>
    <dgm:pt modelId="{C80C5755-4DD6-421C-B8C3-9EA2EF485E18}">
      <dgm:prSet phldrT="[Text]"/>
      <dgm:spPr/>
      <dgm:t>
        <a:bodyPr/>
        <a:lstStyle/>
        <a:p>
          <a:r>
            <a:rPr lang="hr-HR" dirty="0" smtClean="0"/>
            <a:t>Autoasistencija</a:t>
          </a:r>
          <a:endParaRPr lang="hr-HR" dirty="0"/>
        </a:p>
      </dgm:t>
    </dgm:pt>
    <dgm:pt modelId="{3DC878E7-C6CD-4864-B212-2350AE6E7C89}" type="parTrans" cxnId="{E5B12333-10E7-41D0-9335-C9799F822BF3}">
      <dgm:prSet/>
      <dgm:spPr/>
      <dgm:t>
        <a:bodyPr/>
        <a:lstStyle/>
        <a:p>
          <a:endParaRPr lang="hr-HR"/>
        </a:p>
      </dgm:t>
    </dgm:pt>
    <dgm:pt modelId="{0C2211F6-1AFF-45DF-BBDA-ADFCD72F121E}" type="sibTrans" cxnId="{E5B12333-10E7-41D0-9335-C9799F822BF3}">
      <dgm:prSet/>
      <dgm:spPr/>
      <dgm:t>
        <a:bodyPr/>
        <a:lstStyle/>
        <a:p>
          <a:endParaRPr lang="hr-HR"/>
        </a:p>
      </dgm:t>
    </dgm:pt>
    <dgm:pt modelId="{A804F316-55F4-45DD-8ABB-E76FCC286F13}">
      <dgm:prSet phldrT="[Text]" custT="1"/>
      <dgm:spPr/>
      <dgm:t>
        <a:bodyPr/>
        <a:lstStyle/>
        <a:p>
          <a:r>
            <a:rPr lang="hr-HR" sz="1800" dirty="0" smtClean="0"/>
            <a:t>Život</a:t>
          </a:r>
          <a:endParaRPr lang="hr-HR" sz="1800" dirty="0"/>
        </a:p>
      </dgm:t>
    </dgm:pt>
    <dgm:pt modelId="{1D73DE77-618A-4CB8-95CE-AFD9925F6E93}" type="parTrans" cxnId="{9193557F-62A1-4C33-B748-92F0AD42D65A}">
      <dgm:prSet/>
      <dgm:spPr/>
      <dgm:t>
        <a:bodyPr/>
        <a:lstStyle/>
        <a:p>
          <a:endParaRPr lang="hr-HR"/>
        </a:p>
      </dgm:t>
    </dgm:pt>
    <dgm:pt modelId="{99D7CBBD-0AEC-4491-AA73-807C04D20C2E}" type="sibTrans" cxnId="{9193557F-62A1-4C33-B748-92F0AD42D65A}">
      <dgm:prSet/>
      <dgm:spPr/>
      <dgm:t>
        <a:bodyPr/>
        <a:lstStyle/>
        <a:p>
          <a:endParaRPr lang="hr-HR"/>
        </a:p>
      </dgm:t>
    </dgm:pt>
    <dgm:pt modelId="{44C38928-15A1-4D85-8EB5-56723DC58DA0}">
      <dgm:prSet phldrT="[Text]"/>
      <dgm:spPr/>
      <dgm:t>
        <a:bodyPr/>
        <a:lstStyle/>
        <a:p>
          <a:r>
            <a:rPr lang="hr-HR" dirty="0" smtClean="0"/>
            <a:t>Vita</a:t>
          </a:r>
          <a:endParaRPr lang="hr-HR" dirty="0"/>
        </a:p>
      </dgm:t>
    </dgm:pt>
    <dgm:pt modelId="{80C297BD-D4D9-4E8E-A684-BA1AC8310F6C}" type="parTrans" cxnId="{22DE73D8-9CAF-4D68-9EC9-E1E4AAB2618F}">
      <dgm:prSet/>
      <dgm:spPr/>
      <dgm:t>
        <a:bodyPr/>
        <a:lstStyle/>
        <a:p>
          <a:endParaRPr lang="hr-HR"/>
        </a:p>
      </dgm:t>
    </dgm:pt>
    <dgm:pt modelId="{0327E5E5-BD3C-441E-976F-8CCC635E4E34}" type="sibTrans" cxnId="{22DE73D8-9CAF-4D68-9EC9-E1E4AAB2618F}">
      <dgm:prSet/>
      <dgm:spPr/>
      <dgm:t>
        <a:bodyPr/>
        <a:lstStyle/>
        <a:p>
          <a:endParaRPr lang="hr-HR"/>
        </a:p>
      </dgm:t>
    </dgm:pt>
    <dgm:pt modelId="{BEC33084-DEE8-4A8E-8319-339AD80F1EDA}">
      <dgm:prSet phldrT="[Text]"/>
      <dgm:spPr/>
      <dgm:t>
        <a:bodyPr/>
        <a:lstStyle/>
        <a:p>
          <a:r>
            <a:rPr lang="hr-HR" dirty="0" smtClean="0"/>
            <a:t>Lavlje srce</a:t>
          </a:r>
          <a:endParaRPr lang="hr-HR" dirty="0"/>
        </a:p>
      </dgm:t>
    </dgm:pt>
    <dgm:pt modelId="{E4F3687F-B100-4337-ABB6-020E0A577482}" type="parTrans" cxnId="{F86A2549-91BB-4FD2-84EB-C5BA6EF7A3E7}">
      <dgm:prSet/>
      <dgm:spPr/>
      <dgm:t>
        <a:bodyPr/>
        <a:lstStyle/>
        <a:p>
          <a:endParaRPr lang="hr-HR"/>
        </a:p>
      </dgm:t>
    </dgm:pt>
    <dgm:pt modelId="{DD7472D7-443D-4F69-A336-C27087629A4B}" type="sibTrans" cxnId="{F86A2549-91BB-4FD2-84EB-C5BA6EF7A3E7}">
      <dgm:prSet/>
      <dgm:spPr/>
      <dgm:t>
        <a:bodyPr/>
        <a:lstStyle/>
        <a:p>
          <a:endParaRPr lang="hr-HR"/>
        </a:p>
      </dgm:t>
    </dgm:pt>
    <dgm:pt modelId="{C21FD847-0129-4D6D-BA57-7BAD52678054}">
      <dgm:prSet phldrT="[Text]" custT="1"/>
      <dgm:spPr/>
      <dgm:t>
        <a:bodyPr/>
        <a:lstStyle/>
        <a:p>
          <a:r>
            <a:rPr lang="hr-HR" sz="1800" dirty="0" smtClean="0"/>
            <a:t>Nezgoda</a:t>
          </a:r>
          <a:endParaRPr lang="hr-HR" sz="1800" dirty="0"/>
        </a:p>
      </dgm:t>
    </dgm:pt>
    <dgm:pt modelId="{57B24841-F742-4857-9102-6BE90EC0CB14}" type="parTrans" cxnId="{4389C70D-1156-4646-9422-930317CDCA38}">
      <dgm:prSet/>
      <dgm:spPr/>
      <dgm:t>
        <a:bodyPr/>
        <a:lstStyle/>
        <a:p>
          <a:endParaRPr lang="hr-HR"/>
        </a:p>
      </dgm:t>
    </dgm:pt>
    <dgm:pt modelId="{13AA6C12-13EA-4D86-9175-DE2AF1FB63AB}" type="sibTrans" cxnId="{4389C70D-1156-4646-9422-930317CDCA38}">
      <dgm:prSet/>
      <dgm:spPr/>
      <dgm:t>
        <a:bodyPr/>
        <a:lstStyle/>
        <a:p>
          <a:endParaRPr lang="hr-HR"/>
        </a:p>
      </dgm:t>
    </dgm:pt>
    <dgm:pt modelId="{E49D269C-6F1F-4E43-B299-0E0A7CA3D9CE}">
      <dgm:prSet phldrT="[Text]"/>
      <dgm:spPr/>
      <dgm:t>
        <a:bodyPr/>
        <a:lstStyle/>
        <a:p>
          <a:r>
            <a:rPr lang="hr-HR" dirty="0" smtClean="0"/>
            <a:t>Osiguranje pojedinaca</a:t>
          </a:r>
          <a:endParaRPr lang="hr-HR" dirty="0"/>
        </a:p>
      </dgm:t>
    </dgm:pt>
    <dgm:pt modelId="{68D81E0A-C6EF-41A6-B1D1-E343450AC030}" type="parTrans" cxnId="{BF9723D7-E0A8-491C-A584-98FA76A29B5B}">
      <dgm:prSet/>
      <dgm:spPr/>
      <dgm:t>
        <a:bodyPr/>
        <a:lstStyle/>
        <a:p>
          <a:endParaRPr lang="hr-HR"/>
        </a:p>
      </dgm:t>
    </dgm:pt>
    <dgm:pt modelId="{65A5D022-16D3-4DC1-B576-A85C5624F8DA}" type="sibTrans" cxnId="{BF9723D7-E0A8-491C-A584-98FA76A29B5B}">
      <dgm:prSet/>
      <dgm:spPr/>
      <dgm:t>
        <a:bodyPr/>
        <a:lstStyle/>
        <a:p>
          <a:endParaRPr lang="hr-HR"/>
        </a:p>
      </dgm:t>
    </dgm:pt>
    <dgm:pt modelId="{0254410F-53A6-4870-9D34-6B377338F125}">
      <dgm:prSet phldrT="[Text]"/>
      <dgm:spPr/>
      <dgm:t>
        <a:bodyPr/>
        <a:lstStyle/>
        <a:p>
          <a:r>
            <a:rPr lang="hr-HR" dirty="0" smtClean="0"/>
            <a:t>Obiteljsko osiguranje</a:t>
          </a:r>
          <a:endParaRPr lang="hr-HR" dirty="0"/>
        </a:p>
      </dgm:t>
    </dgm:pt>
    <dgm:pt modelId="{9095EEB8-C87F-420F-A321-C8DEEE1A93D5}" type="parTrans" cxnId="{7A4C2581-5709-481D-8ECE-AA6DDD20D807}">
      <dgm:prSet/>
      <dgm:spPr/>
      <dgm:t>
        <a:bodyPr/>
        <a:lstStyle/>
        <a:p>
          <a:endParaRPr lang="hr-HR"/>
        </a:p>
      </dgm:t>
    </dgm:pt>
    <dgm:pt modelId="{AC271418-96A8-4B98-BC93-9B2DF1D6C623}" type="sibTrans" cxnId="{7A4C2581-5709-481D-8ECE-AA6DDD20D807}">
      <dgm:prSet/>
      <dgm:spPr/>
      <dgm:t>
        <a:bodyPr/>
        <a:lstStyle/>
        <a:p>
          <a:endParaRPr lang="hr-HR"/>
        </a:p>
      </dgm:t>
    </dgm:pt>
    <dgm:pt modelId="{73DF972E-C68A-4B99-A467-B731FF8DA78E}">
      <dgm:prSet phldrT="[Text]"/>
      <dgm:spPr/>
      <dgm:t>
        <a:bodyPr/>
        <a:lstStyle/>
        <a:p>
          <a:r>
            <a:rPr lang="hr-HR" dirty="0" smtClean="0"/>
            <a:t>Auto Bonus Protektor</a:t>
          </a:r>
        </a:p>
      </dgm:t>
    </dgm:pt>
    <dgm:pt modelId="{960AF9E9-0E3E-449D-8E2F-07F9BA18EE36}" type="parTrans" cxnId="{6F599230-9315-4596-8D29-F0B61BD22128}">
      <dgm:prSet/>
      <dgm:spPr/>
      <dgm:t>
        <a:bodyPr/>
        <a:lstStyle/>
        <a:p>
          <a:endParaRPr lang="hr-HR"/>
        </a:p>
      </dgm:t>
    </dgm:pt>
    <dgm:pt modelId="{F7016D8D-6BAD-4518-A9BA-2E85DD46FE2E}" type="sibTrans" cxnId="{6F599230-9315-4596-8D29-F0B61BD22128}">
      <dgm:prSet/>
      <dgm:spPr/>
      <dgm:t>
        <a:bodyPr/>
        <a:lstStyle/>
        <a:p>
          <a:endParaRPr lang="hr-HR"/>
        </a:p>
      </dgm:t>
    </dgm:pt>
    <dgm:pt modelId="{85755C06-B80C-4BA7-AEFD-F008541019D1}">
      <dgm:prSet phldrT="[Text]"/>
      <dgm:spPr/>
      <dgm:t>
        <a:bodyPr/>
        <a:lstStyle/>
        <a:p>
          <a:r>
            <a:rPr lang="hr-HR" dirty="0" smtClean="0"/>
            <a:t>Paketi Care i Protekt</a:t>
          </a:r>
        </a:p>
      </dgm:t>
    </dgm:pt>
    <dgm:pt modelId="{22F006E9-4145-4FDB-B754-98646998E743}" type="parTrans" cxnId="{649D436A-65D8-4D26-85DE-DF12AFE2A47E}">
      <dgm:prSet/>
      <dgm:spPr/>
      <dgm:t>
        <a:bodyPr/>
        <a:lstStyle/>
        <a:p>
          <a:endParaRPr lang="hr-HR"/>
        </a:p>
      </dgm:t>
    </dgm:pt>
    <dgm:pt modelId="{D7A2E886-5C10-4D94-817C-44B5BD85E2C9}" type="sibTrans" cxnId="{649D436A-65D8-4D26-85DE-DF12AFE2A47E}">
      <dgm:prSet/>
      <dgm:spPr/>
      <dgm:t>
        <a:bodyPr/>
        <a:lstStyle/>
        <a:p>
          <a:endParaRPr lang="hr-HR"/>
        </a:p>
      </dgm:t>
    </dgm:pt>
    <dgm:pt modelId="{5AEF5240-169E-40CC-A2B4-2F7D9F8959DB}">
      <dgm:prSet phldrT="[Text]"/>
      <dgm:spPr/>
      <dgm:t>
        <a:bodyPr/>
        <a:lstStyle/>
        <a:p>
          <a:r>
            <a:rPr lang="hr-HR" dirty="0" smtClean="0"/>
            <a:t>AO plus</a:t>
          </a:r>
        </a:p>
      </dgm:t>
    </dgm:pt>
    <dgm:pt modelId="{ED0B2B18-AB3C-45C1-97E2-BC5EEDFDD4C7}" type="parTrans" cxnId="{EF029849-79BF-4438-B6CE-27918BE2D0F9}">
      <dgm:prSet/>
      <dgm:spPr/>
      <dgm:t>
        <a:bodyPr/>
        <a:lstStyle/>
        <a:p>
          <a:endParaRPr lang="hr-HR"/>
        </a:p>
      </dgm:t>
    </dgm:pt>
    <dgm:pt modelId="{451B5E00-FDCF-4392-8838-33F69069100A}" type="sibTrans" cxnId="{EF029849-79BF-4438-B6CE-27918BE2D0F9}">
      <dgm:prSet/>
      <dgm:spPr/>
      <dgm:t>
        <a:bodyPr/>
        <a:lstStyle/>
        <a:p>
          <a:endParaRPr lang="hr-HR"/>
        </a:p>
      </dgm:t>
    </dgm:pt>
    <dgm:pt modelId="{920AAD79-03BC-4F2A-8717-34A8041EDF9A}">
      <dgm:prSet phldrT="[Text]"/>
      <dgm:spPr/>
      <dgm:t>
        <a:bodyPr/>
        <a:lstStyle/>
        <a:p>
          <a:r>
            <a:rPr lang="hr-HR" dirty="0" smtClean="0"/>
            <a:t>Kasko</a:t>
          </a:r>
        </a:p>
      </dgm:t>
    </dgm:pt>
    <dgm:pt modelId="{59FBC6A8-CAD1-4C14-A6D5-1AC298E990E3}" type="parTrans" cxnId="{A2DD011B-1BAF-4665-81CC-B541F3F26942}">
      <dgm:prSet/>
      <dgm:spPr/>
      <dgm:t>
        <a:bodyPr/>
        <a:lstStyle/>
        <a:p>
          <a:endParaRPr lang="hr-HR"/>
        </a:p>
      </dgm:t>
    </dgm:pt>
    <dgm:pt modelId="{926615BA-A421-4CED-BF01-7E71503A85AF}" type="sibTrans" cxnId="{A2DD011B-1BAF-4665-81CC-B541F3F26942}">
      <dgm:prSet/>
      <dgm:spPr/>
      <dgm:t>
        <a:bodyPr/>
        <a:lstStyle/>
        <a:p>
          <a:endParaRPr lang="hr-HR"/>
        </a:p>
      </dgm:t>
    </dgm:pt>
    <dgm:pt modelId="{E7775687-E97F-457A-B18B-13DB23170D24}">
      <dgm:prSet phldrT="[Text]"/>
      <dgm:spPr/>
      <dgm:t>
        <a:bodyPr/>
        <a:lstStyle/>
        <a:p>
          <a:r>
            <a:rPr lang="hr-HR" dirty="0" smtClean="0"/>
            <a:t>Djelomični kasko</a:t>
          </a:r>
        </a:p>
      </dgm:t>
    </dgm:pt>
    <dgm:pt modelId="{8BAC72BE-4BE6-411E-BC4A-F2C70D8E97D2}" type="parTrans" cxnId="{95E05891-48A0-4BAD-B404-CC18CBAE938F}">
      <dgm:prSet/>
      <dgm:spPr/>
      <dgm:t>
        <a:bodyPr/>
        <a:lstStyle/>
        <a:p>
          <a:endParaRPr lang="hr-HR"/>
        </a:p>
      </dgm:t>
    </dgm:pt>
    <dgm:pt modelId="{52DF629C-FA38-4EA2-A766-0EF0ED521724}" type="sibTrans" cxnId="{95E05891-48A0-4BAD-B404-CC18CBAE938F}">
      <dgm:prSet/>
      <dgm:spPr/>
      <dgm:t>
        <a:bodyPr/>
        <a:lstStyle/>
        <a:p>
          <a:endParaRPr lang="hr-HR"/>
        </a:p>
      </dgm:t>
    </dgm:pt>
    <dgm:pt modelId="{4626F942-83D0-421B-B872-9BE17E3AB50E}">
      <dgm:prSet phldrT="[Text]"/>
      <dgm:spPr/>
      <dgm:t>
        <a:bodyPr/>
        <a:lstStyle/>
        <a:p>
          <a:r>
            <a:rPr lang="hr-HR" dirty="0" smtClean="0"/>
            <a:t>Osiguranje od nezgode</a:t>
          </a:r>
        </a:p>
      </dgm:t>
    </dgm:pt>
    <dgm:pt modelId="{BBDEE553-9C4E-4574-884A-E597BFE590CD}" type="parTrans" cxnId="{DC1ABA2A-3D3A-4D5B-B000-D2C3840B9F23}">
      <dgm:prSet/>
      <dgm:spPr/>
      <dgm:t>
        <a:bodyPr/>
        <a:lstStyle/>
        <a:p>
          <a:endParaRPr lang="hr-HR"/>
        </a:p>
      </dgm:t>
    </dgm:pt>
    <dgm:pt modelId="{F4A197C8-6317-47C7-BA4A-8F267DFD7C6A}" type="sibTrans" cxnId="{DC1ABA2A-3D3A-4D5B-B000-D2C3840B9F23}">
      <dgm:prSet/>
      <dgm:spPr/>
      <dgm:t>
        <a:bodyPr/>
        <a:lstStyle/>
        <a:p>
          <a:endParaRPr lang="hr-HR"/>
        </a:p>
      </dgm:t>
    </dgm:pt>
    <dgm:pt modelId="{D9F307D0-F54D-403D-9C19-459725FF68EF}">
      <dgm:prSet phldrT="[Text]"/>
      <dgm:spPr/>
      <dgm:t>
        <a:bodyPr/>
        <a:lstStyle/>
        <a:p>
          <a:r>
            <a:rPr lang="hr-HR" dirty="0" smtClean="0"/>
            <a:t>Linija života</a:t>
          </a:r>
          <a:endParaRPr lang="hr-HR" dirty="0"/>
        </a:p>
      </dgm:t>
    </dgm:pt>
    <dgm:pt modelId="{B617A603-F32D-48D9-9C67-A53FB0CBFB4F}" type="parTrans" cxnId="{5F195328-A7D1-4D3E-ADA9-5DDEC091E23A}">
      <dgm:prSet/>
      <dgm:spPr/>
      <dgm:t>
        <a:bodyPr/>
        <a:lstStyle/>
        <a:p>
          <a:endParaRPr lang="hr-HR"/>
        </a:p>
      </dgm:t>
    </dgm:pt>
    <dgm:pt modelId="{3907ECB7-D1A0-4DCF-8870-DC1A81EE2941}" type="sibTrans" cxnId="{5F195328-A7D1-4D3E-ADA9-5DDEC091E23A}">
      <dgm:prSet/>
      <dgm:spPr/>
      <dgm:t>
        <a:bodyPr/>
        <a:lstStyle/>
        <a:p>
          <a:endParaRPr lang="hr-HR"/>
        </a:p>
      </dgm:t>
    </dgm:pt>
    <dgm:pt modelId="{4D483CCF-8394-4F7A-BFC3-1D456C65F9AD}">
      <dgm:prSet phldrT="[Text]"/>
      <dgm:spPr/>
      <dgm:t>
        <a:bodyPr/>
        <a:lstStyle/>
        <a:p>
          <a:r>
            <a:rPr lang="hr-HR" dirty="0" smtClean="0"/>
            <a:t>Kapital</a:t>
          </a:r>
          <a:endParaRPr lang="hr-HR" dirty="0"/>
        </a:p>
      </dgm:t>
    </dgm:pt>
    <dgm:pt modelId="{DDBF3BD3-CCE6-4729-9B27-780B65EA5044}" type="parTrans" cxnId="{8F60D5F7-F292-4981-BA1C-A8CE9C792AB5}">
      <dgm:prSet/>
      <dgm:spPr/>
      <dgm:t>
        <a:bodyPr/>
        <a:lstStyle/>
        <a:p>
          <a:endParaRPr lang="hr-HR"/>
        </a:p>
      </dgm:t>
    </dgm:pt>
    <dgm:pt modelId="{9989F2B6-A9FF-4B6D-B03A-25F1446132A0}" type="sibTrans" cxnId="{8F60D5F7-F292-4981-BA1C-A8CE9C792AB5}">
      <dgm:prSet/>
      <dgm:spPr/>
      <dgm:t>
        <a:bodyPr/>
        <a:lstStyle/>
        <a:p>
          <a:endParaRPr lang="hr-HR"/>
        </a:p>
      </dgm:t>
    </dgm:pt>
    <dgm:pt modelId="{AFC0B14B-FC6B-4686-9C50-5561EC672E4B}">
      <dgm:prSet phldrT="[Text]"/>
      <dgm:spPr/>
      <dgm:t>
        <a:bodyPr/>
        <a:lstStyle/>
        <a:p>
          <a:r>
            <a:rPr lang="hr-HR" dirty="0" smtClean="0"/>
            <a:t>Vizija</a:t>
          </a:r>
          <a:endParaRPr lang="hr-HR" dirty="0"/>
        </a:p>
      </dgm:t>
    </dgm:pt>
    <dgm:pt modelId="{4B62F4A0-F78C-4E79-9BB4-B56007C07062}" type="parTrans" cxnId="{A513C080-9737-49D6-A287-DB3EB7E3EFB8}">
      <dgm:prSet/>
      <dgm:spPr/>
      <dgm:t>
        <a:bodyPr/>
        <a:lstStyle/>
        <a:p>
          <a:endParaRPr lang="hr-HR"/>
        </a:p>
      </dgm:t>
    </dgm:pt>
    <dgm:pt modelId="{9A03E747-A9B0-4754-90FF-43A60605CE37}" type="sibTrans" cxnId="{A513C080-9737-49D6-A287-DB3EB7E3EFB8}">
      <dgm:prSet/>
      <dgm:spPr/>
      <dgm:t>
        <a:bodyPr/>
        <a:lstStyle/>
        <a:p>
          <a:endParaRPr lang="hr-HR"/>
        </a:p>
      </dgm:t>
    </dgm:pt>
    <dgm:pt modelId="{13C43ECC-AB65-4BE8-9047-E4DE7E3BC1D4}">
      <dgm:prSet phldrT="[Text]"/>
      <dgm:spPr/>
      <dgm:t>
        <a:bodyPr/>
        <a:lstStyle/>
        <a:p>
          <a:r>
            <a:rPr lang="hr-HR" dirty="0" smtClean="0"/>
            <a:t>GaranT Plus</a:t>
          </a:r>
          <a:endParaRPr lang="hr-HR" dirty="0"/>
        </a:p>
      </dgm:t>
    </dgm:pt>
    <dgm:pt modelId="{75DBAF8D-D2D5-4D2A-B262-D19BD00B5BA2}" type="parTrans" cxnId="{6441942D-945C-49F3-8467-CBED4834DAF0}">
      <dgm:prSet/>
      <dgm:spPr/>
      <dgm:t>
        <a:bodyPr/>
        <a:lstStyle/>
        <a:p>
          <a:endParaRPr lang="hr-HR"/>
        </a:p>
      </dgm:t>
    </dgm:pt>
    <dgm:pt modelId="{7216FFC2-ED69-43AF-92C8-D28D52C27553}" type="sibTrans" cxnId="{6441942D-945C-49F3-8467-CBED4834DAF0}">
      <dgm:prSet/>
      <dgm:spPr/>
      <dgm:t>
        <a:bodyPr/>
        <a:lstStyle/>
        <a:p>
          <a:endParaRPr lang="hr-HR"/>
        </a:p>
      </dgm:t>
    </dgm:pt>
    <dgm:pt modelId="{21E26427-C0F7-476F-98E9-2AA38466715F}">
      <dgm:prSet phldrT="[Text]"/>
      <dgm:spPr/>
      <dgm:t>
        <a:bodyPr/>
        <a:lstStyle/>
        <a:p>
          <a:r>
            <a:rPr lang="hr-HR" dirty="0" smtClean="0"/>
            <a:t>Stratego</a:t>
          </a:r>
          <a:endParaRPr lang="hr-HR" dirty="0"/>
        </a:p>
      </dgm:t>
    </dgm:pt>
    <dgm:pt modelId="{36C31376-5CAB-4207-93BD-EDB11FDD6DEC}" type="parTrans" cxnId="{00FFF3DF-5059-4DA3-94A0-A665826446C2}">
      <dgm:prSet/>
      <dgm:spPr/>
      <dgm:t>
        <a:bodyPr/>
        <a:lstStyle/>
        <a:p>
          <a:endParaRPr lang="hr-HR"/>
        </a:p>
      </dgm:t>
    </dgm:pt>
    <dgm:pt modelId="{9E670F67-B501-4F86-98A3-001175EC8490}" type="sibTrans" cxnId="{00FFF3DF-5059-4DA3-94A0-A665826446C2}">
      <dgm:prSet/>
      <dgm:spPr/>
      <dgm:t>
        <a:bodyPr/>
        <a:lstStyle/>
        <a:p>
          <a:endParaRPr lang="hr-HR"/>
        </a:p>
      </dgm:t>
    </dgm:pt>
    <dgm:pt modelId="{DC4278F9-ABFE-4AF8-A6A8-74165087DCE8}">
      <dgm:prSet phldrT="[Text]"/>
      <dgm:spPr/>
      <dgm:t>
        <a:bodyPr/>
        <a:lstStyle/>
        <a:p>
          <a:r>
            <a:rPr lang="hr-HR" dirty="0" smtClean="0"/>
            <a:t>Ziherica</a:t>
          </a:r>
          <a:endParaRPr lang="hr-HR" dirty="0"/>
        </a:p>
      </dgm:t>
    </dgm:pt>
    <dgm:pt modelId="{62B59EF6-27AA-442F-BD02-AAFDE2C02BDD}" type="parTrans" cxnId="{0C0BC378-EB11-4CDB-AECF-33C3CAEFAFF4}">
      <dgm:prSet/>
      <dgm:spPr/>
      <dgm:t>
        <a:bodyPr/>
        <a:lstStyle/>
        <a:p>
          <a:endParaRPr lang="hr-HR"/>
        </a:p>
      </dgm:t>
    </dgm:pt>
    <dgm:pt modelId="{F53B1C75-CD8C-4F77-82F8-C627F7D9921A}" type="sibTrans" cxnId="{0C0BC378-EB11-4CDB-AECF-33C3CAEFAFF4}">
      <dgm:prSet/>
      <dgm:spPr/>
      <dgm:t>
        <a:bodyPr/>
        <a:lstStyle/>
        <a:p>
          <a:endParaRPr lang="hr-HR"/>
        </a:p>
      </dgm:t>
    </dgm:pt>
    <dgm:pt modelId="{A1B96D0B-C31F-43D2-A0AB-2561987EBBCC}">
      <dgm:prSet phldrT="[Text]"/>
      <dgm:spPr/>
      <dgm:t>
        <a:bodyPr/>
        <a:lstStyle/>
        <a:p>
          <a:r>
            <a:rPr lang="hr-HR" dirty="0" smtClean="0"/>
            <a:t>Riziko</a:t>
          </a:r>
          <a:endParaRPr lang="hr-HR" dirty="0"/>
        </a:p>
      </dgm:t>
    </dgm:pt>
    <dgm:pt modelId="{8B072AB7-CDB9-485A-9F1E-1618A618A8BB}" type="parTrans" cxnId="{0F183D7A-50C5-4120-B364-0681673FB4C9}">
      <dgm:prSet/>
      <dgm:spPr/>
      <dgm:t>
        <a:bodyPr/>
        <a:lstStyle/>
        <a:p>
          <a:endParaRPr lang="hr-HR"/>
        </a:p>
      </dgm:t>
    </dgm:pt>
    <dgm:pt modelId="{73C82BAF-0804-4E95-B7BF-EED14CF65571}" type="sibTrans" cxnId="{0F183D7A-50C5-4120-B364-0681673FB4C9}">
      <dgm:prSet/>
      <dgm:spPr/>
      <dgm:t>
        <a:bodyPr/>
        <a:lstStyle/>
        <a:p>
          <a:endParaRPr lang="hr-HR"/>
        </a:p>
      </dgm:t>
    </dgm:pt>
    <dgm:pt modelId="{0AF01DA9-912E-4C5F-893A-24B35FC55BD9}">
      <dgm:prSet phldrT="[Text]"/>
      <dgm:spPr/>
      <dgm:t>
        <a:bodyPr/>
        <a:lstStyle/>
        <a:p>
          <a:r>
            <a:rPr lang="hr-HR" dirty="0" smtClean="0"/>
            <a:t>Riznica</a:t>
          </a:r>
          <a:endParaRPr lang="hr-HR" dirty="0"/>
        </a:p>
      </dgm:t>
    </dgm:pt>
    <dgm:pt modelId="{81B3E577-DFCF-4EF2-9E71-15570EC9A785}" type="parTrans" cxnId="{C8F86793-D4B8-4806-9303-0B972DD9B327}">
      <dgm:prSet/>
      <dgm:spPr/>
      <dgm:t>
        <a:bodyPr/>
        <a:lstStyle/>
        <a:p>
          <a:endParaRPr lang="hr-HR"/>
        </a:p>
      </dgm:t>
    </dgm:pt>
    <dgm:pt modelId="{704630C6-F65C-405C-BD47-67F18D19CF78}" type="sibTrans" cxnId="{C8F86793-D4B8-4806-9303-0B972DD9B327}">
      <dgm:prSet/>
      <dgm:spPr/>
      <dgm:t>
        <a:bodyPr/>
        <a:lstStyle/>
        <a:p>
          <a:endParaRPr lang="hr-HR"/>
        </a:p>
      </dgm:t>
    </dgm:pt>
    <dgm:pt modelId="{27235878-80D4-4724-918D-2160D22C4C88}">
      <dgm:prSet phldrT="[Text]"/>
      <dgm:spPr/>
      <dgm:t>
        <a:bodyPr/>
        <a:lstStyle/>
        <a:p>
          <a:r>
            <a:rPr lang="hr-HR" dirty="0" smtClean="0"/>
            <a:t>Osiguranje sportaša</a:t>
          </a:r>
          <a:endParaRPr lang="hr-HR" dirty="0"/>
        </a:p>
      </dgm:t>
    </dgm:pt>
    <dgm:pt modelId="{B0FA9B59-ED8B-466A-B0C5-9AB981B3FE40}" type="parTrans" cxnId="{70DEBBC3-F5B7-4AB4-B588-B96293B27BC5}">
      <dgm:prSet/>
      <dgm:spPr/>
      <dgm:t>
        <a:bodyPr/>
        <a:lstStyle/>
        <a:p>
          <a:endParaRPr lang="hr-HR"/>
        </a:p>
      </dgm:t>
    </dgm:pt>
    <dgm:pt modelId="{06E667C5-07C5-47BF-A0E3-D8A018909DAA}" type="sibTrans" cxnId="{70DEBBC3-F5B7-4AB4-B588-B96293B27BC5}">
      <dgm:prSet/>
      <dgm:spPr/>
      <dgm:t>
        <a:bodyPr/>
        <a:lstStyle/>
        <a:p>
          <a:endParaRPr lang="hr-HR"/>
        </a:p>
      </dgm:t>
    </dgm:pt>
    <dgm:pt modelId="{F31D5037-4FB6-40E2-9C77-0A8A484CAC69}">
      <dgm:prSet phldrT="[Text]"/>
      <dgm:spPr/>
      <dgm:t>
        <a:bodyPr/>
        <a:lstStyle/>
        <a:p>
          <a:r>
            <a:rPr lang="hr-HR" dirty="0" smtClean="0"/>
            <a:t>Paket 500 razloga</a:t>
          </a:r>
        </a:p>
      </dgm:t>
    </dgm:pt>
    <dgm:pt modelId="{696BF232-CC11-4DC4-84F3-E2EBD6545FF0}" type="parTrans" cxnId="{5F4A2696-4EE2-45EB-B6F6-6F46E3F58FB5}">
      <dgm:prSet/>
      <dgm:spPr/>
      <dgm:t>
        <a:bodyPr/>
        <a:lstStyle/>
        <a:p>
          <a:endParaRPr lang="hr-HR"/>
        </a:p>
      </dgm:t>
    </dgm:pt>
    <dgm:pt modelId="{299AD3B1-3301-499C-B048-F8EB0F2E50B9}" type="sibTrans" cxnId="{5F4A2696-4EE2-45EB-B6F6-6F46E3F58FB5}">
      <dgm:prSet/>
      <dgm:spPr/>
      <dgm:t>
        <a:bodyPr/>
        <a:lstStyle/>
        <a:p>
          <a:endParaRPr lang="hr-HR"/>
        </a:p>
      </dgm:t>
    </dgm:pt>
    <dgm:pt modelId="{49420DE4-94C0-4C13-863D-58B23FFAEB1B}">
      <dgm:prSet custT="1"/>
      <dgm:spPr/>
      <dgm:t>
        <a:bodyPr/>
        <a:lstStyle/>
        <a:p>
          <a:r>
            <a:rPr lang="hr-HR" sz="1800" dirty="0" smtClean="0"/>
            <a:t>Imovina</a:t>
          </a:r>
          <a:endParaRPr lang="hr-HR" sz="1800" dirty="0"/>
        </a:p>
      </dgm:t>
    </dgm:pt>
    <dgm:pt modelId="{A9D5BC84-4C3B-4D31-A542-F5C8840237B3}" type="parTrans" cxnId="{EA8A24A0-886F-4ED6-91C9-B09550638AF2}">
      <dgm:prSet/>
      <dgm:spPr/>
      <dgm:t>
        <a:bodyPr/>
        <a:lstStyle/>
        <a:p>
          <a:endParaRPr lang="hr-HR"/>
        </a:p>
      </dgm:t>
    </dgm:pt>
    <dgm:pt modelId="{FFCAD8DF-BB23-4506-9ACA-C37B79C381A8}" type="sibTrans" cxnId="{EA8A24A0-886F-4ED6-91C9-B09550638AF2}">
      <dgm:prSet/>
      <dgm:spPr/>
      <dgm:t>
        <a:bodyPr/>
        <a:lstStyle/>
        <a:p>
          <a:endParaRPr lang="hr-HR"/>
        </a:p>
      </dgm:t>
    </dgm:pt>
    <dgm:pt modelId="{0BE612B6-EF40-4081-83FD-6ACFC8C7E1EA}">
      <dgm:prSet/>
      <dgm:spPr/>
      <dgm:t>
        <a:bodyPr/>
        <a:lstStyle/>
        <a:p>
          <a:r>
            <a:rPr lang="hr-HR" dirty="0" smtClean="0"/>
            <a:t>Osiguranje nekretnine</a:t>
          </a:r>
        </a:p>
      </dgm:t>
    </dgm:pt>
    <dgm:pt modelId="{05583DB6-D833-46CE-BE2F-28CB8E26C734}" type="parTrans" cxnId="{70073BAD-3CBE-4822-A6EA-743FF62B39D9}">
      <dgm:prSet/>
      <dgm:spPr/>
      <dgm:t>
        <a:bodyPr/>
        <a:lstStyle/>
        <a:p>
          <a:endParaRPr lang="hr-HR"/>
        </a:p>
      </dgm:t>
    </dgm:pt>
    <dgm:pt modelId="{C09A9A52-AAEA-48D0-A18A-F55BA0C40C11}" type="sibTrans" cxnId="{70073BAD-3CBE-4822-A6EA-743FF62B39D9}">
      <dgm:prSet/>
      <dgm:spPr/>
      <dgm:t>
        <a:bodyPr/>
        <a:lstStyle/>
        <a:p>
          <a:endParaRPr lang="hr-HR"/>
        </a:p>
      </dgm:t>
    </dgm:pt>
    <dgm:pt modelId="{4D41C9D7-4081-45AF-A858-1D31CC083FF4}">
      <dgm:prSet/>
      <dgm:spPr/>
      <dgm:t>
        <a:bodyPr/>
        <a:lstStyle/>
        <a:p>
          <a:r>
            <a:rPr lang="hr-HR" dirty="0" smtClean="0"/>
            <a:t>Kućanstvo</a:t>
          </a:r>
        </a:p>
      </dgm:t>
    </dgm:pt>
    <dgm:pt modelId="{F323CF86-60F2-43E9-AAA5-C2EB4959C3AE}" type="parTrans" cxnId="{98876006-08DC-4AEA-903A-47E343AD47E5}">
      <dgm:prSet/>
      <dgm:spPr/>
      <dgm:t>
        <a:bodyPr/>
        <a:lstStyle/>
        <a:p>
          <a:endParaRPr lang="hr-HR"/>
        </a:p>
      </dgm:t>
    </dgm:pt>
    <dgm:pt modelId="{D75984C2-76BB-477A-860E-B52466E1177B}" type="sibTrans" cxnId="{98876006-08DC-4AEA-903A-47E343AD47E5}">
      <dgm:prSet/>
      <dgm:spPr/>
      <dgm:t>
        <a:bodyPr/>
        <a:lstStyle/>
        <a:p>
          <a:endParaRPr lang="hr-HR"/>
        </a:p>
      </dgm:t>
    </dgm:pt>
    <dgm:pt modelId="{9BA2E335-6671-477A-8AD2-9600F0080D48}">
      <dgm:prSet/>
      <dgm:spPr/>
      <dgm:t>
        <a:bodyPr/>
        <a:lstStyle/>
        <a:p>
          <a:r>
            <a:rPr lang="hr-HR" dirty="0" smtClean="0"/>
            <a:t>Malo i srednje poduzetništvo</a:t>
          </a:r>
        </a:p>
      </dgm:t>
    </dgm:pt>
    <dgm:pt modelId="{EF2DC45B-8190-4AE0-A775-91E82F9E6938}" type="parTrans" cxnId="{EE0220E5-94E8-4971-81D8-AE1364D1514F}">
      <dgm:prSet/>
      <dgm:spPr/>
      <dgm:t>
        <a:bodyPr/>
        <a:lstStyle/>
        <a:p>
          <a:endParaRPr lang="hr-HR"/>
        </a:p>
      </dgm:t>
    </dgm:pt>
    <dgm:pt modelId="{F9992987-F4CC-4BB0-A7EF-E02E281A23B2}" type="sibTrans" cxnId="{EE0220E5-94E8-4971-81D8-AE1364D1514F}">
      <dgm:prSet/>
      <dgm:spPr/>
      <dgm:t>
        <a:bodyPr/>
        <a:lstStyle/>
        <a:p>
          <a:endParaRPr lang="hr-HR"/>
        </a:p>
      </dgm:t>
    </dgm:pt>
    <dgm:pt modelId="{BC738984-255F-48C5-B0F4-D32B124257CF}">
      <dgm:prSet/>
      <dgm:spPr/>
      <dgm:t>
        <a:bodyPr/>
        <a:lstStyle/>
        <a:p>
          <a:r>
            <a:rPr lang="hr-HR" dirty="0" smtClean="0"/>
            <a:t>Mali i obiteljski hoteli</a:t>
          </a:r>
        </a:p>
      </dgm:t>
    </dgm:pt>
    <dgm:pt modelId="{1186FE7D-DEC3-426C-9F4C-F2A13E1D6647}" type="parTrans" cxnId="{B241022B-FF7B-47C8-AC38-E36EE0B00EE9}">
      <dgm:prSet/>
      <dgm:spPr/>
      <dgm:t>
        <a:bodyPr/>
        <a:lstStyle/>
        <a:p>
          <a:endParaRPr lang="hr-HR"/>
        </a:p>
      </dgm:t>
    </dgm:pt>
    <dgm:pt modelId="{F6D36FBC-5C60-40C9-88B4-93A47E881A81}" type="sibTrans" cxnId="{B241022B-FF7B-47C8-AC38-E36EE0B00EE9}">
      <dgm:prSet/>
      <dgm:spPr/>
      <dgm:t>
        <a:bodyPr/>
        <a:lstStyle/>
        <a:p>
          <a:endParaRPr lang="hr-HR"/>
        </a:p>
      </dgm:t>
    </dgm:pt>
    <dgm:pt modelId="{5FF28701-4408-4F18-94B4-E334D9D4E871}">
      <dgm:prSet/>
      <dgm:spPr/>
      <dgm:t>
        <a:bodyPr/>
        <a:lstStyle/>
        <a:p>
          <a:r>
            <a:rPr lang="hr-HR" dirty="0" smtClean="0"/>
            <a:t>Potres</a:t>
          </a:r>
        </a:p>
      </dgm:t>
    </dgm:pt>
    <dgm:pt modelId="{DBB8A7BC-26B0-4946-8B13-94147441F5E6}" type="parTrans" cxnId="{35269055-D803-4FA3-9BEE-B8578FEDCAD2}">
      <dgm:prSet/>
      <dgm:spPr/>
      <dgm:t>
        <a:bodyPr/>
        <a:lstStyle/>
        <a:p>
          <a:endParaRPr lang="hr-HR"/>
        </a:p>
      </dgm:t>
    </dgm:pt>
    <dgm:pt modelId="{598B18E2-F446-41B9-8130-02B60398F744}" type="sibTrans" cxnId="{35269055-D803-4FA3-9BEE-B8578FEDCAD2}">
      <dgm:prSet/>
      <dgm:spPr/>
      <dgm:t>
        <a:bodyPr/>
        <a:lstStyle/>
        <a:p>
          <a:endParaRPr lang="hr-HR"/>
        </a:p>
      </dgm:t>
    </dgm:pt>
    <dgm:pt modelId="{47BC9568-F973-4C7B-94B9-73EF1A50B087}">
      <dgm:prSet/>
      <dgm:spPr/>
      <dgm:t>
        <a:bodyPr/>
        <a:lstStyle/>
        <a:p>
          <a:r>
            <a:rPr lang="hr-HR" dirty="0" smtClean="0"/>
            <a:t>Stambene zgrade</a:t>
          </a:r>
        </a:p>
      </dgm:t>
    </dgm:pt>
    <dgm:pt modelId="{A44ADDB8-0FFD-45DC-BCD8-017747994A15}" type="parTrans" cxnId="{CCEF0E74-3759-4CBB-83CF-6754FADDDE06}">
      <dgm:prSet/>
      <dgm:spPr/>
      <dgm:t>
        <a:bodyPr/>
        <a:lstStyle/>
        <a:p>
          <a:endParaRPr lang="hr-HR"/>
        </a:p>
      </dgm:t>
    </dgm:pt>
    <dgm:pt modelId="{E56EB4A9-4931-4BEC-BA92-3B5E1394D4FF}" type="sibTrans" cxnId="{CCEF0E74-3759-4CBB-83CF-6754FADDDE06}">
      <dgm:prSet/>
      <dgm:spPr/>
      <dgm:t>
        <a:bodyPr/>
        <a:lstStyle/>
        <a:p>
          <a:endParaRPr lang="hr-HR"/>
        </a:p>
      </dgm:t>
    </dgm:pt>
    <dgm:pt modelId="{51C4A2DA-F94C-4A0A-80C2-C8EC738BF09F}" type="pres">
      <dgm:prSet presAssocID="{A7CAF89D-F3A2-49C4-A329-37261D293561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8DF35F57-85AC-4A59-BDD4-C4D12E7B9E39}" type="pres">
      <dgm:prSet presAssocID="{CC522D4C-5B32-4794-9FE8-2A666181D956}" presName="compNode" presStyleCnt="0"/>
      <dgm:spPr/>
    </dgm:pt>
    <dgm:pt modelId="{5480C364-A462-4003-BB40-9916F747E303}" type="pres">
      <dgm:prSet presAssocID="{CC522D4C-5B32-4794-9FE8-2A666181D956}" presName="aNode" presStyleLbl="bgShp" presStyleIdx="0" presStyleCnt="4" custLinFactNeighborX="-38"/>
      <dgm:spPr/>
      <dgm:t>
        <a:bodyPr/>
        <a:lstStyle/>
        <a:p>
          <a:endParaRPr lang="hr-HR"/>
        </a:p>
      </dgm:t>
    </dgm:pt>
    <dgm:pt modelId="{3531149A-1EB1-4AE2-802D-C258AC60D32B}" type="pres">
      <dgm:prSet presAssocID="{CC522D4C-5B32-4794-9FE8-2A666181D956}" presName="textNode" presStyleLbl="bgShp" presStyleIdx="0" presStyleCnt="4"/>
      <dgm:spPr/>
      <dgm:t>
        <a:bodyPr/>
        <a:lstStyle/>
        <a:p>
          <a:endParaRPr lang="hr-HR"/>
        </a:p>
      </dgm:t>
    </dgm:pt>
    <dgm:pt modelId="{F4F7FB7B-8F74-44A2-97C6-55859CB59957}" type="pres">
      <dgm:prSet presAssocID="{CC522D4C-5B32-4794-9FE8-2A666181D956}" presName="compChildNode" presStyleCnt="0"/>
      <dgm:spPr/>
    </dgm:pt>
    <dgm:pt modelId="{1E23B08D-DDBA-4086-B020-C19695D02B1A}" type="pres">
      <dgm:prSet presAssocID="{CC522D4C-5B32-4794-9FE8-2A666181D956}" presName="theInnerList" presStyleCnt="0"/>
      <dgm:spPr/>
    </dgm:pt>
    <dgm:pt modelId="{DD3BD930-5255-4FEE-AE40-D32D05AE5EB2}" type="pres">
      <dgm:prSet presAssocID="{6C4D79A6-2271-4B66-A652-9875D6D2038D}" presName="childNode" presStyleLbl="node1" presStyleIdx="0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113DD65-5270-4066-94A2-F2718721EB44}" type="pres">
      <dgm:prSet presAssocID="{6C4D79A6-2271-4B66-A652-9875D6D2038D}" presName="aSpace2" presStyleCnt="0"/>
      <dgm:spPr/>
    </dgm:pt>
    <dgm:pt modelId="{BFB68BD0-5211-4BA3-AD55-6359414A33F8}" type="pres">
      <dgm:prSet presAssocID="{73DF972E-C68A-4B99-A467-B731FF8DA78E}" presName="childNode" presStyleLbl="node1" presStyleIdx="1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FC4F82C-3AA3-4C98-8BAF-F01AFDEEDF0C}" type="pres">
      <dgm:prSet presAssocID="{73DF972E-C68A-4B99-A467-B731FF8DA78E}" presName="aSpace2" presStyleCnt="0"/>
      <dgm:spPr/>
    </dgm:pt>
    <dgm:pt modelId="{66929553-A49B-4D59-944F-88C7D4F6C878}" type="pres">
      <dgm:prSet presAssocID="{85755C06-B80C-4BA7-AEFD-F008541019D1}" presName="childNode" presStyleLbl="node1" presStyleIdx="2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7912D33-D32D-4D71-93CC-BC4040AAF7AF}" type="pres">
      <dgm:prSet presAssocID="{85755C06-B80C-4BA7-AEFD-F008541019D1}" presName="aSpace2" presStyleCnt="0"/>
      <dgm:spPr/>
    </dgm:pt>
    <dgm:pt modelId="{0AEE71EE-9E53-4F5A-9F50-B59A247F7D05}" type="pres">
      <dgm:prSet presAssocID="{5AEF5240-169E-40CC-A2B4-2F7D9F8959DB}" presName="childNode" presStyleLbl="node1" presStyleIdx="3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B78F5E9A-BF08-4BCC-88D1-2F7DFC21D245}" type="pres">
      <dgm:prSet presAssocID="{5AEF5240-169E-40CC-A2B4-2F7D9F8959DB}" presName="aSpace2" presStyleCnt="0"/>
      <dgm:spPr/>
    </dgm:pt>
    <dgm:pt modelId="{C4A00DC9-4522-44E5-8B75-BC23E9C9F114}" type="pres">
      <dgm:prSet presAssocID="{920AAD79-03BC-4F2A-8717-34A8041EDF9A}" presName="childNode" presStyleLbl="node1" presStyleIdx="4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3BB4342E-ED31-466D-B40A-67C76844F80C}" type="pres">
      <dgm:prSet presAssocID="{920AAD79-03BC-4F2A-8717-34A8041EDF9A}" presName="aSpace2" presStyleCnt="0"/>
      <dgm:spPr/>
    </dgm:pt>
    <dgm:pt modelId="{F4EBB973-CFBA-4119-A58D-1A1334296A98}" type="pres">
      <dgm:prSet presAssocID="{E7775687-E97F-457A-B18B-13DB23170D24}" presName="childNode" presStyleLbl="node1" presStyleIdx="5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C7D9D65-921A-48CD-B386-D20EF32F065E}" type="pres">
      <dgm:prSet presAssocID="{E7775687-E97F-457A-B18B-13DB23170D24}" presName="aSpace2" presStyleCnt="0"/>
      <dgm:spPr/>
    </dgm:pt>
    <dgm:pt modelId="{FD55B901-6FEC-468C-8610-30396810AB6A}" type="pres">
      <dgm:prSet presAssocID="{4626F942-83D0-421B-B872-9BE17E3AB50E}" presName="childNode" presStyleLbl="node1" presStyleIdx="6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C9044B6A-CB0B-4522-A463-4A7C0F30806F}" type="pres">
      <dgm:prSet presAssocID="{4626F942-83D0-421B-B872-9BE17E3AB50E}" presName="aSpace2" presStyleCnt="0"/>
      <dgm:spPr/>
    </dgm:pt>
    <dgm:pt modelId="{2E72C1E4-F23E-4974-B98E-4E4CF9BF58E5}" type="pres">
      <dgm:prSet presAssocID="{C80C5755-4DD6-421C-B8C3-9EA2EF485E18}" presName="childNode" presStyleLbl="node1" presStyleIdx="7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A4F1EFD8-3C3A-462C-88C4-A5B32038C535}" type="pres">
      <dgm:prSet presAssocID="{CC522D4C-5B32-4794-9FE8-2A666181D956}" presName="aSpace" presStyleCnt="0"/>
      <dgm:spPr/>
    </dgm:pt>
    <dgm:pt modelId="{125ED456-480D-4EBF-855A-E93A0FB4CD32}" type="pres">
      <dgm:prSet presAssocID="{A804F316-55F4-45DD-8ABB-E76FCC286F13}" presName="compNode" presStyleCnt="0"/>
      <dgm:spPr/>
    </dgm:pt>
    <dgm:pt modelId="{0B238ADB-536F-4D90-AFD9-EA7FBC03BA3C}" type="pres">
      <dgm:prSet presAssocID="{A804F316-55F4-45DD-8ABB-E76FCC286F13}" presName="aNode" presStyleLbl="bgShp" presStyleIdx="1" presStyleCnt="4"/>
      <dgm:spPr/>
      <dgm:t>
        <a:bodyPr/>
        <a:lstStyle/>
        <a:p>
          <a:endParaRPr lang="hr-HR"/>
        </a:p>
      </dgm:t>
    </dgm:pt>
    <dgm:pt modelId="{A3FB03F4-6F67-4ED4-A5C2-A2BA15787E49}" type="pres">
      <dgm:prSet presAssocID="{A804F316-55F4-45DD-8ABB-E76FCC286F13}" presName="textNode" presStyleLbl="bgShp" presStyleIdx="1" presStyleCnt="4"/>
      <dgm:spPr/>
      <dgm:t>
        <a:bodyPr/>
        <a:lstStyle/>
        <a:p>
          <a:endParaRPr lang="hr-HR"/>
        </a:p>
      </dgm:t>
    </dgm:pt>
    <dgm:pt modelId="{4DA1058E-50D7-496F-B3D5-D819648B141B}" type="pres">
      <dgm:prSet presAssocID="{A804F316-55F4-45DD-8ABB-E76FCC286F13}" presName="compChildNode" presStyleCnt="0"/>
      <dgm:spPr/>
    </dgm:pt>
    <dgm:pt modelId="{0CECB529-D637-4972-A2AB-6F411ED40D96}" type="pres">
      <dgm:prSet presAssocID="{A804F316-55F4-45DD-8ABB-E76FCC286F13}" presName="theInnerList" presStyleCnt="0"/>
      <dgm:spPr/>
    </dgm:pt>
    <dgm:pt modelId="{E95B40FB-5CA8-48BF-A5C5-3D1E326C6E19}" type="pres">
      <dgm:prSet presAssocID="{44C38928-15A1-4D85-8EB5-56723DC58DA0}" presName="childNode" presStyleLbl="node1" presStyleIdx="8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3C210C5-9EB3-4736-AD26-7647B1392C1F}" type="pres">
      <dgm:prSet presAssocID="{44C38928-15A1-4D85-8EB5-56723DC58DA0}" presName="aSpace2" presStyleCnt="0"/>
      <dgm:spPr/>
    </dgm:pt>
    <dgm:pt modelId="{4778F682-68C2-4D3D-A225-150C8C441116}" type="pres">
      <dgm:prSet presAssocID="{BEC33084-DEE8-4A8E-8319-339AD80F1EDA}" presName="childNode" presStyleLbl="node1" presStyleIdx="9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463A18E-E3E5-47FC-B781-98563737EFC7}" type="pres">
      <dgm:prSet presAssocID="{BEC33084-DEE8-4A8E-8319-339AD80F1EDA}" presName="aSpace2" presStyleCnt="0"/>
      <dgm:spPr/>
    </dgm:pt>
    <dgm:pt modelId="{D0E0608C-E6EA-4F16-96CB-D1F66847E7D0}" type="pres">
      <dgm:prSet presAssocID="{D9F307D0-F54D-403D-9C19-459725FF68EF}" presName="childNode" presStyleLbl="node1" presStyleIdx="10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6EC16A2F-9CFF-425E-9188-8474ABC17DA3}" type="pres">
      <dgm:prSet presAssocID="{D9F307D0-F54D-403D-9C19-459725FF68EF}" presName="aSpace2" presStyleCnt="0"/>
      <dgm:spPr/>
    </dgm:pt>
    <dgm:pt modelId="{0A6C2CE4-AF8A-4C7E-84BB-A283976338FF}" type="pres">
      <dgm:prSet presAssocID="{4D483CCF-8394-4F7A-BFC3-1D456C65F9AD}" presName="childNode" presStyleLbl="node1" presStyleIdx="11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A6B463F4-340F-43A1-982E-73FA23490CE4}" type="pres">
      <dgm:prSet presAssocID="{4D483CCF-8394-4F7A-BFC3-1D456C65F9AD}" presName="aSpace2" presStyleCnt="0"/>
      <dgm:spPr/>
    </dgm:pt>
    <dgm:pt modelId="{7EB5DBA8-075A-4339-BD32-FBB6B80ABDD3}" type="pres">
      <dgm:prSet presAssocID="{AFC0B14B-FC6B-4686-9C50-5561EC672E4B}" presName="childNode" presStyleLbl="node1" presStyleIdx="12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67D9C4D-693C-4590-BE85-64207D42CFA6}" type="pres">
      <dgm:prSet presAssocID="{AFC0B14B-FC6B-4686-9C50-5561EC672E4B}" presName="aSpace2" presStyleCnt="0"/>
      <dgm:spPr/>
    </dgm:pt>
    <dgm:pt modelId="{1A1B33FD-C03E-4C10-975D-C0D59D094A60}" type="pres">
      <dgm:prSet presAssocID="{13C43ECC-AB65-4BE8-9047-E4DE7E3BC1D4}" presName="childNode" presStyleLbl="node1" presStyleIdx="13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5B0F1281-1947-496B-926D-5AB81BB60C80}" type="pres">
      <dgm:prSet presAssocID="{13C43ECC-AB65-4BE8-9047-E4DE7E3BC1D4}" presName="aSpace2" presStyleCnt="0"/>
      <dgm:spPr/>
    </dgm:pt>
    <dgm:pt modelId="{A510099C-FEB0-4F8B-AA4F-7231965E5F92}" type="pres">
      <dgm:prSet presAssocID="{21E26427-C0F7-476F-98E9-2AA38466715F}" presName="childNode" presStyleLbl="node1" presStyleIdx="14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FD0DC92-5C03-472E-AB60-D5CCD0922207}" type="pres">
      <dgm:prSet presAssocID="{21E26427-C0F7-476F-98E9-2AA38466715F}" presName="aSpace2" presStyleCnt="0"/>
      <dgm:spPr/>
    </dgm:pt>
    <dgm:pt modelId="{A0DF3792-9DE6-41FE-9ABE-61530FFB5A89}" type="pres">
      <dgm:prSet presAssocID="{DC4278F9-ABFE-4AF8-A6A8-74165087DCE8}" presName="childNode" presStyleLbl="node1" presStyleIdx="15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68E4D5D1-7BF7-4FAE-87C4-C35F0314256E}" type="pres">
      <dgm:prSet presAssocID="{DC4278F9-ABFE-4AF8-A6A8-74165087DCE8}" presName="aSpace2" presStyleCnt="0"/>
      <dgm:spPr/>
    </dgm:pt>
    <dgm:pt modelId="{C8914C32-57F5-4EEE-B408-F746DBAF5929}" type="pres">
      <dgm:prSet presAssocID="{A1B96D0B-C31F-43D2-A0AB-2561987EBBCC}" presName="childNode" presStyleLbl="node1" presStyleIdx="16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C59FA88-61D8-4337-88A3-C422C403F7DF}" type="pres">
      <dgm:prSet presAssocID="{A1B96D0B-C31F-43D2-A0AB-2561987EBBCC}" presName="aSpace2" presStyleCnt="0"/>
      <dgm:spPr/>
    </dgm:pt>
    <dgm:pt modelId="{5888E588-D8D1-4742-96DC-AAFC1B56F788}" type="pres">
      <dgm:prSet presAssocID="{0AF01DA9-912E-4C5F-893A-24B35FC55BD9}" presName="childNode" presStyleLbl="node1" presStyleIdx="17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C9707BDF-FC84-4200-8605-034DCD77C546}" type="pres">
      <dgm:prSet presAssocID="{A804F316-55F4-45DD-8ABB-E76FCC286F13}" presName="aSpace" presStyleCnt="0"/>
      <dgm:spPr/>
    </dgm:pt>
    <dgm:pt modelId="{15416D6C-828F-4430-80E5-253157DBAE68}" type="pres">
      <dgm:prSet presAssocID="{C21FD847-0129-4D6D-BA57-7BAD52678054}" presName="compNode" presStyleCnt="0"/>
      <dgm:spPr/>
    </dgm:pt>
    <dgm:pt modelId="{46B48E48-1DC2-4414-B621-BD7952C5DFF1}" type="pres">
      <dgm:prSet presAssocID="{C21FD847-0129-4D6D-BA57-7BAD52678054}" presName="aNode" presStyleLbl="bgShp" presStyleIdx="2" presStyleCnt="4"/>
      <dgm:spPr/>
      <dgm:t>
        <a:bodyPr/>
        <a:lstStyle/>
        <a:p>
          <a:endParaRPr lang="hr-HR"/>
        </a:p>
      </dgm:t>
    </dgm:pt>
    <dgm:pt modelId="{A6FD0123-D798-462B-B446-E8AC16F2995D}" type="pres">
      <dgm:prSet presAssocID="{C21FD847-0129-4D6D-BA57-7BAD52678054}" presName="textNode" presStyleLbl="bgShp" presStyleIdx="2" presStyleCnt="4"/>
      <dgm:spPr/>
      <dgm:t>
        <a:bodyPr/>
        <a:lstStyle/>
        <a:p>
          <a:endParaRPr lang="hr-HR"/>
        </a:p>
      </dgm:t>
    </dgm:pt>
    <dgm:pt modelId="{A4101307-521F-4A42-9C2E-C2AD0A279E3D}" type="pres">
      <dgm:prSet presAssocID="{C21FD847-0129-4D6D-BA57-7BAD52678054}" presName="compChildNode" presStyleCnt="0"/>
      <dgm:spPr/>
    </dgm:pt>
    <dgm:pt modelId="{9C43ACF9-0F8C-4CE8-BE7F-A6B0311A1B8B}" type="pres">
      <dgm:prSet presAssocID="{C21FD847-0129-4D6D-BA57-7BAD52678054}" presName="theInnerList" presStyleCnt="0"/>
      <dgm:spPr/>
    </dgm:pt>
    <dgm:pt modelId="{99444B2E-7BCA-4183-8BC3-3C8333BEF1CA}" type="pres">
      <dgm:prSet presAssocID="{E49D269C-6F1F-4E43-B299-0E0A7CA3D9CE}" presName="childNode" presStyleLbl="node1" presStyleIdx="18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7791A99F-8329-45D8-B27D-1E1C40085019}" type="pres">
      <dgm:prSet presAssocID="{E49D269C-6F1F-4E43-B299-0E0A7CA3D9CE}" presName="aSpace2" presStyleCnt="0"/>
      <dgm:spPr/>
    </dgm:pt>
    <dgm:pt modelId="{DD738920-A6AA-4020-AACA-FC8F25515D3D}" type="pres">
      <dgm:prSet presAssocID="{0254410F-53A6-4870-9D34-6B377338F125}" presName="childNode" presStyleLbl="node1" presStyleIdx="19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C9DDB36-B3D3-44A6-AC3A-9A9E6E6F54E6}" type="pres">
      <dgm:prSet presAssocID="{0254410F-53A6-4870-9D34-6B377338F125}" presName="aSpace2" presStyleCnt="0"/>
      <dgm:spPr/>
    </dgm:pt>
    <dgm:pt modelId="{B5C998DD-554A-4D0D-8970-4A8D763A6B40}" type="pres">
      <dgm:prSet presAssocID="{27235878-80D4-4724-918D-2160D22C4C88}" presName="childNode" presStyleLbl="node1" presStyleIdx="20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DA36DC4-BDAE-4358-BD43-811DFE67482E}" type="pres">
      <dgm:prSet presAssocID="{27235878-80D4-4724-918D-2160D22C4C88}" presName="aSpace2" presStyleCnt="0"/>
      <dgm:spPr/>
    </dgm:pt>
    <dgm:pt modelId="{4D4DE986-8F80-4353-B461-AF2DFF780FE1}" type="pres">
      <dgm:prSet presAssocID="{F31D5037-4FB6-40E2-9C77-0A8A484CAC69}" presName="childNode" presStyleLbl="node1" presStyleIdx="21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B550AF5-ACF5-4BFC-949C-8B3492198091}" type="pres">
      <dgm:prSet presAssocID="{C21FD847-0129-4D6D-BA57-7BAD52678054}" presName="aSpace" presStyleCnt="0"/>
      <dgm:spPr/>
    </dgm:pt>
    <dgm:pt modelId="{98791991-64F0-4923-AB45-691BC7B305AD}" type="pres">
      <dgm:prSet presAssocID="{49420DE4-94C0-4C13-863D-58B23FFAEB1B}" presName="compNode" presStyleCnt="0"/>
      <dgm:spPr/>
    </dgm:pt>
    <dgm:pt modelId="{385E113D-74E7-40A6-B71D-815A6C8CD533}" type="pres">
      <dgm:prSet presAssocID="{49420DE4-94C0-4C13-863D-58B23FFAEB1B}" presName="aNode" presStyleLbl="bgShp" presStyleIdx="3" presStyleCnt="4"/>
      <dgm:spPr/>
      <dgm:t>
        <a:bodyPr/>
        <a:lstStyle/>
        <a:p>
          <a:endParaRPr lang="hr-HR"/>
        </a:p>
      </dgm:t>
    </dgm:pt>
    <dgm:pt modelId="{9EC1931A-DB43-40EA-BE7F-0074FBDFC78F}" type="pres">
      <dgm:prSet presAssocID="{49420DE4-94C0-4C13-863D-58B23FFAEB1B}" presName="textNode" presStyleLbl="bgShp" presStyleIdx="3" presStyleCnt="4"/>
      <dgm:spPr/>
      <dgm:t>
        <a:bodyPr/>
        <a:lstStyle/>
        <a:p>
          <a:endParaRPr lang="hr-HR"/>
        </a:p>
      </dgm:t>
    </dgm:pt>
    <dgm:pt modelId="{BDE0BD46-1819-4A2F-AC44-87F9710AAB22}" type="pres">
      <dgm:prSet presAssocID="{49420DE4-94C0-4C13-863D-58B23FFAEB1B}" presName="compChildNode" presStyleCnt="0"/>
      <dgm:spPr/>
    </dgm:pt>
    <dgm:pt modelId="{D6537FC7-DAF8-4DBF-828A-CB8D95C9DEF1}" type="pres">
      <dgm:prSet presAssocID="{49420DE4-94C0-4C13-863D-58B23FFAEB1B}" presName="theInnerList" presStyleCnt="0"/>
      <dgm:spPr/>
    </dgm:pt>
    <dgm:pt modelId="{E89B695C-DD7D-44B3-9950-00C62E72C6D7}" type="pres">
      <dgm:prSet presAssocID="{0BE612B6-EF40-4081-83FD-6ACFC8C7E1EA}" presName="childNode" presStyleLbl="node1" presStyleIdx="22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10938CBA-E5BD-45D1-BAC0-1DEC9B6854FF}" type="pres">
      <dgm:prSet presAssocID="{0BE612B6-EF40-4081-83FD-6ACFC8C7E1EA}" presName="aSpace2" presStyleCnt="0"/>
      <dgm:spPr/>
    </dgm:pt>
    <dgm:pt modelId="{3530B0D7-D399-4BDE-97E5-170F61EF68AE}" type="pres">
      <dgm:prSet presAssocID="{4D41C9D7-4081-45AF-A858-1D31CC083FF4}" presName="childNode" presStyleLbl="node1" presStyleIdx="23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6563C05-0FC3-47B2-A286-CEE830ED2195}" type="pres">
      <dgm:prSet presAssocID="{4D41C9D7-4081-45AF-A858-1D31CC083FF4}" presName="aSpace2" presStyleCnt="0"/>
      <dgm:spPr/>
    </dgm:pt>
    <dgm:pt modelId="{4BF1E28C-1CDE-4FD4-85E5-B604075B15CF}" type="pres">
      <dgm:prSet presAssocID="{9BA2E335-6671-477A-8AD2-9600F0080D48}" presName="childNode" presStyleLbl="node1" presStyleIdx="24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CB611B0-2002-4FAB-A96E-A92867416E82}" type="pres">
      <dgm:prSet presAssocID="{9BA2E335-6671-477A-8AD2-9600F0080D48}" presName="aSpace2" presStyleCnt="0"/>
      <dgm:spPr/>
    </dgm:pt>
    <dgm:pt modelId="{AC00BD5B-535E-433E-8CA3-E8E9D7C906C4}" type="pres">
      <dgm:prSet presAssocID="{BC738984-255F-48C5-B0F4-D32B124257CF}" presName="childNode" presStyleLbl="node1" presStyleIdx="25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5D85A9A5-66FE-43E8-95AC-30C32ACA806E}" type="pres">
      <dgm:prSet presAssocID="{BC738984-255F-48C5-B0F4-D32B124257CF}" presName="aSpace2" presStyleCnt="0"/>
      <dgm:spPr/>
    </dgm:pt>
    <dgm:pt modelId="{A7DDC110-CC4D-4E88-AD66-382A45432CCA}" type="pres">
      <dgm:prSet presAssocID="{5FF28701-4408-4F18-94B4-E334D9D4E871}" presName="childNode" presStyleLbl="node1" presStyleIdx="26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9545EF6B-4C55-493D-8F1D-D010BBCAA1E9}" type="pres">
      <dgm:prSet presAssocID="{5FF28701-4408-4F18-94B4-E334D9D4E871}" presName="aSpace2" presStyleCnt="0"/>
      <dgm:spPr/>
    </dgm:pt>
    <dgm:pt modelId="{3CEF552E-3A82-41FC-ADF8-BF023B814D87}" type="pres">
      <dgm:prSet presAssocID="{47BC9568-F973-4C7B-94B9-73EF1A50B087}" presName="childNode" presStyleLbl="node1" presStyleIdx="27" presStyleCnt="28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832C15EB-0D24-46BE-9830-4D59B3C81580}" type="presOf" srcId="{920AAD79-03BC-4F2A-8717-34A8041EDF9A}" destId="{C4A00DC9-4522-44E5-8B75-BC23E9C9F114}" srcOrd="0" destOrd="0" presId="urn:microsoft.com/office/officeart/2005/8/layout/lProcess2"/>
    <dgm:cxn modelId="{EF029849-79BF-4438-B6CE-27918BE2D0F9}" srcId="{CC522D4C-5B32-4794-9FE8-2A666181D956}" destId="{5AEF5240-169E-40CC-A2B4-2F7D9F8959DB}" srcOrd="3" destOrd="0" parTransId="{ED0B2B18-AB3C-45C1-97E2-BC5EEDFDD4C7}" sibTransId="{451B5E00-FDCF-4392-8838-33F69069100A}"/>
    <dgm:cxn modelId="{5F195328-A7D1-4D3E-ADA9-5DDEC091E23A}" srcId="{A804F316-55F4-45DD-8ABB-E76FCC286F13}" destId="{D9F307D0-F54D-403D-9C19-459725FF68EF}" srcOrd="2" destOrd="0" parTransId="{B617A603-F32D-48D9-9C67-A53FB0CBFB4F}" sibTransId="{3907ECB7-D1A0-4DCF-8870-DC1A81EE2941}"/>
    <dgm:cxn modelId="{2E4F53D6-AEC0-4635-8E2C-5FF068A53996}" type="presOf" srcId="{49420DE4-94C0-4C13-863D-58B23FFAEB1B}" destId="{385E113D-74E7-40A6-B71D-815A6C8CD533}" srcOrd="0" destOrd="0" presId="urn:microsoft.com/office/officeart/2005/8/layout/lProcess2"/>
    <dgm:cxn modelId="{B241022B-FF7B-47C8-AC38-E36EE0B00EE9}" srcId="{49420DE4-94C0-4C13-863D-58B23FFAEB1B}" destId="{BC738984-255F-48C5-B0F4-D32B124257CF}" srcOrd="3" destOrd="0" parTransId="{1186FE7D-DEC3-426C-9F4C-F2A13E1D6647}" sibTransId="{F6D36FBC-5C60-40C9-88B4-93A47E881A81}"/>
    <dgm:cxn modelId="{16CFD545-E7AB-4122-91FA-E6C113D3798A}" type="presOf" srcId="{C21FD847-0129-4D6D-BA57-7BAD52678054}" destId="{46B48E48-1DC2-4414-B621-BD7952C5DFF1}" srcOrd="0" destOrd="0" presId="urn:microsoft.com/office/officeart/2005/8/layout/lProcess2"/>
    <dgm:cxn modelId="{81B31F97-7629-4B5A-AC10-EFF85EE2EC91}" type="presOf" srcId="{73DF972E-C68A-4B99-A467-B731FF8DA78E}" destId="{BFB68BD0-5211-4BA3-AD55-6359414A33F8}" srcOrd="0" destOrd="0" presId="urn:microsoft.com/office/officeart/2005/8/layout/lProcess2"/>
    <dgm:cxn modelId="{0F183D7A-50C5-4120-B364-0681673FB4C9}" srcId="{A804F316-55F4-45DD-8ABB-E76FCC286F13}" destId="{A1B96D0B-C31F-43D2-A0AB-2561987EBBCC}" srcOrd="8" destOrd="0" parTransId="{8B072AB7-CDB9-485A-9F1E-1618A618A8BB}" sibTransId="{73C82BAF-0804-4E95-B7BF-EED14CF65571}"/>
    <dgm:cxn modelId="{8175ECFB-4CFC-4D69-A575-310EBFD510AC}" type="presOf" srcId="{DC4278F9-ABFE-4AF8-A6A8-74165087DCE8}" destId="{A0DF3792-9DE6-41FE-9ABE-61530FFB5A89}" srcOrd="0" destOrd="0" presId="urn:microsoft.com/office/officeart/2005/8/layout/lProcess2"/>
    <dgm:cxn modelId="{FEC86682-B402-42CD-8C62-9B0B94C8EF73}" type="presOf" srcId="{C21FD847-0129-4D6D-BA57-7BAD52678054}" destId="{A6FD0123-D798-462B-B446-E8AC16F2995D}" srcOrd="1" destOrd="0" presId="urn:microsoft.com/office/officeart/2005/8/layout/lProcess2"/>
    <dgm:cxn modelId="{A19DAFD4-867B-4724-AE9A-E57CECC1FF1B}" type="presOf" srcId="{A804F316-55F4-45DD-8ABB-E76FCC286F13}" destId="{A3FB03F4-6F67-4ED4-A5C2-A2BA15787E49}" srcOrd="1" destOrd="0" presId="urn:microsoft.com/office/officeart/2005/8/layout/lProcess2"/>
    <dgm:cxn modelId="{AB4CC22C-ADDE-43EE-83FC-C97CEEDC251B}" type="presOf" srcId="{A804F316-55F4-45DD-8ABB-E76FCC286F13}" destId="{0B238ADB-536F-4D90-AFD9-EA7FBC03BA3C}" srcOrd="0" destOrd="0" presId="urn:microsoft.com/office/officeart/2005/8/layout/lProcess2"/>
    <dgm:cxn modelId="{9193557F-62A1-4C33-B748-92F0AD42D65A}" srcId="{A7CAF89D-F3A2-49C4-A329-37261D293561}" destId="{A804F316-55F4-45DD-8ABB-E76FCC286F13}" srcOrd="1" destOrd="0" parTransId="{1D73DE77-618A-4CB8-95CE-AFD9925F6E93}" sibTransId="{99D7CBBD-0AEC-4491-AA73-807C04D20C2E}"/>
    <dgm:cxn modelId="{DD1968DB-A3C7-44E9-95EF-20323BD95657}" type="presOf" srcId="{E7775687-E97F-457A-B18B-13DB23170D24}" destId="{F4EBB973-CFBA-4119-A58D-1A1334296A98}" srcOrd="0" destOrd="0" presId="urn:microsoft.com/office/officeart/2005/8/layout/lProcess2"/>
    <dgm:cxn modelId="{5F4A2696-4EE2-45EB-B6F6-6F46E3F58FB5}" srcId="{C21FD847-0129-4D6D-BA57-7BAD52678054}" destId="{F31D5037-4FB6-40E2-9C77-0A8A484CAC69}" srcOrd="3" destOrd="0" parTransId="{696BF232-CC11-4DC4-84F3-E2EBD6545FF0}" sibTransId="{299AD3B1-3301-499C-B048-F8EB0F2E50B9}"/>
    <dgm:cxn modelId="{5A545833-B49E-463E-8343-1100FC494986}" type="presOf" srcId="{AFC0B14B-FC6B-4686-9C50-5561EC672E4B}" destId="{7EB5DBA8-075A-4339-BD32-FBB6B80ABDD3}" srcOrd="0" destOrd="0" presId="urn:microsoft.com/office/officeart/2005/8/layout/lProcess2"/>
    <dgm:cxn modelId="{A2DD011B-1BAF-4665-81CC-B541F3F26942}" srcId="{CC522D4C-5B32-4794-9FE8-2A666181D956}" destId="{920AAD79-03BC-4F2A-8717-34A8041EDF9A}" srcOrd="4" destOrd="0" parTransId="{59FBC6A8-CAD1-4C14-A6D5-1AC298E990E3}" sibTransId="{926615BA-A421-4CED-BF01-7E71503A85AF}"/>
    <dgm:cxn modelId="{3D3D5484-38D0-48B4-8137-F7C22F62404E}" type="presOf" srcId="{BEC33084-DEE8-4A8E-8319-339AD80F1EDA}" destId="{4778F682-68C2-4D3D-A225-150C8C441116}" srcOrd="0" destOrd="0" presId="urn:microsoft.com/office/officeart/2005/8/layout/lProcess2"/>
    <dgm:cxn modelId="{5B7B2B47-1F5A-45F8-8DC6-B356460A3415}" type="presOf" srcId="{4D483CCF-8394-4F7A-BFC3-1D456C65F9AD}" destId="{0A6C2CE4-AF8A-4C7E-84BB-A283976338FF}" srcOrd="0" destOrd="0" presId="urn:microsoft.com/office/officeart/2005/8/layout/lProcess2"/>
    <dgm:cxn modelId="{DC1ABA2A-3D3A-4D5B-B000-D2C3840B9F23}" srcId="{CC522D4C-5B32-4794-9FE8-2A666181D956}" destId="{4626F942-83D0-421B-B872-9BE17E3AB50E}" srcOrd="6" destOrd="0" parTransId="{BBDEE553-9C4E-4574-884A-E597BFE590CD}" sibTransId="{F4A197C8-6317-47C7-BA4A-8F267DFD7C6A}"/>
    <dgm:cxn modelId="{00FFF3DF-5059-4DA3-94A0-A665826446C2}" srcId="{A804F316-55F4-45DD-8ABB-E76FCC286F13}" destId="{21E26427-C0F7-476F-98E9-2AA38466715F}" srcOrd="6" destOrd="0" parTransId="{36C31376-5CAB-4207-93BD-EDB11FDD6DEC}" sibTransId="{9E670F67-B501-4F86-98A3-001175EC8490}"/>
    <dgm:cxn modelId="{8F60D5F7-F292-4981-BA1C-A8CE9C792AB5}" srcId="{A804F316-55F4-45DD-8ABB-E76FCC286F13}" destId="{4D483CCF-8394-4F7A-BFC3-1D456C65F9AD}" srcOrd="3" destOrd="0" parTransId="{DDBF3BD3-CCE6-4729-9B27-780B65EA5044}" sibTransId="{9989F2B6-A9FF-4B6D-B03A-25F1446132A0}"/>
    <dgm:cxn modelId="{F86A2549-91BB-4FD2-84EB-C5BA6EF7A3E7}" srcId="{A804F316-55F4-45DD-8ABB-E76FCC286F13}" destId="{BEC33084-DEE8-4A8E-8319-339AD80F1EDA}" srcOrd="1" destOrd="0" parTransId="{E4F3687F-B100-4337-ABB6-020E0A577482}" sibTransId="{DD7472D7-443D-4F69-A336-C27087629A4B}"/>
    <dgm:cxn modelId="{95E05891-48A0-4BAD-B404-CC18CBAE938F}" srcId="{CC522D4C-5B32-4794-9FE8-2A666181D956}" destId="{E7775687-E97F-457A-B18B-13DB23170D24}" srcOrd="5" destOrd="0" parTransId="{8BAC72BE-4BE6-411E-BC4A-F2C70D8E97D2}" sibTransId="{52DF629C-FA38-4EA2-A766-0EF0ED521724}"/>
    <dgm:cxn modelId="{22DE73D8-9CAF-4D68-9EC9-E1E4AAB2618F}" srcId="{A804F316-55F4-45DD-8ABB-E76FCC286F13}" destId="{44C38928-15A1-4D85-8EB5-56723DC58DA0}" srcOrd="0" destOrd="0" parTransId="{80C297BD-D4D9-4E8E-A684-BA1AC8310F6C}" sibTransId="{0327E5E5-BD3C-441E-976F-8CCC635E4E34}"/>
    <dgm:cxn modelId="{32EBDF14-5B5C-49E2-B89B-1DADA7DBB45D}" type="presOf" srcId="{4D41C9D7-4081-45AF-A858-1D31CC083FF4}" destId="{3530B0D7-D399-4BDE-97E5-170F61EF68AE}" srcOrd="0" destOrd="0" presId="urn:microsoft.com/office/officeart/2005/8/layout/lProcess2"/>
    <dgm:cxn modelId="{74FFDD96-628E-400D-B1F5-5792F7ABBC46}" type="presOf" srcId="{0254410F-53A6-4870-9D34-6B377338F125}" destId="{DD738920-A6AA-4020-AACA-FC8F25515D3D}" srcOrd="0" destOrd="0" presId="urn:microsoft.com/office/officeart/2005/8/layout/lProcess2"/>
    <dgm:cxn modelId="{649D436A-65D8-4D26-85DE-DF12AFE2A47E}" srcId="{CC522D4C-5B32-4794-9FE8-2A666181D956}" destId="{85755C06-B80C-4BA7-AEFD-F008541019D1}" srcOrd="2" destOrd="0" parTransId="{22F006E9-4145-4FDB-B754-98646998E743}" sibTransId="{D7A2E886-5C10-4D94-817C-44B5BD85E2C9}"/>
    <dgm:cxn modelId="{35269055-D803-4FA3-9BEE-B8578FEDCAD2}" srcId="{49420DE4-94C0-4C13-863D-58B23FFAEB1B}" destId="{5FF28701-4408-4F18-94B4-E334D9D4E871}" srcOrd="4" destOrd="0" parTransId="{DBB8A7BC-26B0-4946-8B13-94147441F5E6}" sibTransId="{598B18E2-F446-41B9-8130-02B60398F744}"/>
    <dgm:cxn modelId="{4686065B-D855-4500-9294-4D0BD79970B0}" type="presOf" srcId="{F31D5037-4FB6-40E2-9C77-0A8A484CAC69}" destId="{4D4DE986-8F80-4353-B461-AF2DFF780FE1}" srcOrd="0" destOrd="0" presId="urn:microsoft.com/office/officeart/2005/8/layout/lProcess2"/>
    <dgm:cxn modelId="{6F599230-9315-4596-8D29-F0B61BD22128}" srcId="{CC522D4C-5B32-4794-9FE8-2A666181D956}" destId="{73DF972E-C68A-4B99-A467-B731FF8DA78E}" srcOrd="1" destOrd="0" parTransId="{960AF9E9-0E3E-449D-8E2F-07F9BA18EE36}" sibTransId="{F7016D8D-6BAD-4518-A9BA-2E85DD46FE2E}"/>
    <dgm:cxn modelId="{ED6A3769-E055-4832-95EF-A0490ACE23E8}" srcId="{CC522D4C-5B32-4794-9FE8-2A666181D956}" destId="{6C4D79A6-2271-4B66-A652-9875D6D2038D}" srcOrd="0" destOrd="0" parTransId="{D925552B-C6EB-4978-B27C-D1A0BF257571}" sibTransId="{9F4DC0A1-E951-4EB4-9B24-45E5D2876482}"/>
    <dgm:cxn modelId="{293F7526-10FC-43A2-9272-68D1F87D9492}" type="presOf" srcId="{9BA2E335-6671-477A-8AD2-9600F0080D48}" destId="{4BF1E28C-1CDE-4FD4-85E5-B604075B15CF}" srcOrd="0" destOrd="0" presId="urn:microsoft.com/office/officeart/2005/8/layout/lProcess2"/>
    <dgm:cxn modelId="{E70D3F51-D0F5-48EC-B681-FCF46A6736E2}" type="presOf" srcId="{E49D269C-6F1F-4E43-B299-0E0A7CA3D9CE}" destId="{99444B2E-7BCA-4183-8BC3-3C8333BEF1CA}" srcOrd="0" destOrd="0" presId="urn:microsoft.com/office/officeart/2005/8/layout/lProcess2"/>
    <dgm:cxn modelId="{33311D0A-11A9-4C40-85E5-50A23E1A5095}" type="presOf" srcId="{47BC9568-F973-4C7B-94B9-73EF1A50B087}" destId="{3CEF552E-3A82-41FC-ADF8-BF023B814D87}" srcOrd="0" destOrd="0" presId="urn:microsoft.com/office/officeart/2005/8/layout/lProcess2"/>
    <dgm:cxn modelId="{21B2F85E-F6BE-48BC-B45A-BDEC53C57D54}" type="presOf" srcId="{27235878-80D4-4724-918D-2160D22C4C88}" destId="{B5C998DD-554A-4D0D-8970-4A8D763A6B40}" srcOrd="0" destOrd="0" presId="urn:microsoft.com/office/officeart/2005/8/layout/lProcess2"/>
    <dgm:cxn modelId="{73E463BA-E9A7-4189-845B-4DFBAA46EEAE}" type="presOf" srcId="{A1B96D0B-C31F-43D2-A0AB-2561987EBBCC}" destId="{C8914C32-57F5-4EEE-B408-F746DBAF5929}" srcOrd="0" destOrd="0" presId="urn:microsoft.com/office/officeart/2005/8/layout/lProcess2"/>
    <dgm:cxn modelId="{BCF81D5B-78CA-43C2-849A-BD524EAD5A3F}" type="presOf" srcId="{13C43ECC-AB65-4BE8-9047-E4DE7E3BC1D4}" destId="{1A1B33FD-C03E-4C10-975D-C0D59D094A60}" srcOrd="0" destOrd="0" presId="urn:microsoft.com/office/officeart/2005/8/layout/lProcess2"/>
    <dgm:cxn modelId="{53F3F168-F6DA-4322-8CFD-BF466099D8F4}" type="presOf" srcId="{5FF28701-4408-4F18-94B4-E334D9D4E871}" destId="{A7DDC110-CC4D-4E88-AD66-382A45432CCA}" srcOrd="0" destOrd="0" presId="urn:microsoft.com/office/officeart/2005/8/layout/lProcess2"/>
    <dgm:cxn modelId="{54EC1193-648A-4208-9762-CB78304B8240}" type="presOf" srcId="{0BE612B6-EF40-4081-83FD-6ACFC8C7E1EA}" destId="{E89B695C-DD7D-44B3-9950-00C62E72C6D7}" srcOrd="0" destOrd="0" presId="urn:microsoft.com/office/officeart/2005/8/layout/lProcess2"/>
    <dgm:cxn modelId="{C8F86793-D4B8-4806-9303-0B972DD9B327}" srcId="{A804F316-55F4-45DD-8ABB-E76FCC286F13}" destId="{0AF01DA9-912E-4C5F-893A-24B35FC55BD9}" srcOrd="9" destOrd="0" parTransId="{81B3E577-DFCF-4EF2-9E71-15570EC9A785}" sibTransId="{704630C6-F65C-405C-BD47-67F18D19CF78}"/>
    <dgm:cxn modelId="{DCB97C2B-DCED-4CEC-8996-00A049D467A5}" type="presOf" srcId="{21E26427-C0F7-476F-98E9-2AA38466715F}" destId="{A510099C-FEB0-4F8B-AA4F-7231965E5F92}" srcOrd="0" destOrd="0" presId="urn:microsoft.com/office/officeart/2005/8/layout/lProcess2"/>
    <dgm:cxn modelId="{65B0DA55-FB9C-4818-A57A-DE885B9E4CDF}" type="presOf" srcId="{44C38928-15A1-4D85-8EB5-56723DC58DA0}" destId="{E95B40FB-5CA8-48BF-A5C5-3D1E326C6E19}" srcOrd="0" destOrd="0" presId="urn:microsoft.com/office/officeart/2005/8/layout/lProcess2"/>
    <dgm:cxn modelId="{5D6396AD-2E28-459C-90DF-09FEB0A306A7}" type="presOf" srcId="{D9F307D0-F54D-403D-9C19-459725FF68EF}" destId="{D0E0608C-E6EA-4F16-96CB-D1F66847E7D0}" srcOrd="0" destOrd="0" presId="urn:microsoft.com/office/officeart/2005/8/layout/lProcess2"/>
    <dgm:cxn modelId="{04402BF5-615C-4EF7-AA61-28F6AF74E692}" type="presOf" srcId="{C80C5755-4DD6-421C-B8C3-9EA2EF485E18}" destId="{2E72C1E4-F23E-4974-B98E-4E4CF9BF58E5}" srcOrd="0" destOrd="0" presId="urn:microsoft.com/office/officeart/2005/8/layout/lProcess2"/>
    <dgm:cxn modelId="{DE2FD91E-9F87-41C4-8241-CA870260E41C}" srcId="{A7CAF89D-F3A2-49C4-A329-37261D293561}" destId="{CC522D4C-5B32-4794-9FE8-2A666181D956}" srcOrd="0" destOrd="0" parTransId="{C139AB97-92A9-4261-AF64-136F64B6C011}" sibTransId="{DFAB12B8-9806-4474-BB7F-2FF431919433}"/>
    <dgm:cxn modelId="{EA8A24A0-886F-4ED6-91C9-B09550638AF2}" srcId="{A7CAF89D-F3A2-49C4-A329-37261D293561}" destId="{49420DE4-94C0-4C13-863D-58B23FFAEB1B}" srcOrd="3" destOrd="0" parTransId="{A9D5BC84-4C3B-4D31-A542-F5C8840237B3}" sibTransId="{FFCAD8DF-BB23-4506-9ACA-C37B79C381A8}"/>
    <dgm:cxn modelId="{BF9723D7-E0A8-491C-A584-98FA76A29B5B}" srcId="{C21FD847-0129-4D6D-BA57-7BAD52678054}" destId="{E49D269C-6F1F-4E43-B299-0E0A7CA3D9CE}" srcOrd="0" destOrd="0" parTransId="{68D81E0A-C6EF-41A6-B1D1-E343450AC030}" sibTransId="{65A5D022-16D3-4DC1-B576-A85C5624F8DA}"/>
    <dgm:cxn modelId="{98876006-08DC-4AEA-903A-47E343AD47E5}" srcId="{49420DE4-94C0-4C13-863D-58B23FFAEB1B}" destId="{4D41C9D7-4081-45AF-A858-1D31CC083FF4}" srcOrd="1" destOrd="0" parTransId="{F323CF86-60F2-43E9-AAA5-C2EB4959C3AE}" sibTransId="{D75984C2-76BB-477A-860E-B52466E1177B}"/>
    <dgm:cxn modelId="{ECC183B4-43F4-4E74-8AE1-0DEFA914A5E2}" type="presOf" srcId="{4626F942-83D0-421B-B872-9BE17E3AB50E}" destId="{FD55B901-6FEC-468C-8610-30396810AB6A}" srcOrd="0" destOrd="0" presId="urn:microsoft.com/office/officeart/2005/8/layout/lProcess2"/>
    <dgm:cxn modelId="{E5B12333-10E7-41D0-9335-C9799F822BF3}" srcId="{CC522D4C-5B32-4794-9FE8-2A666181D956}" destId="{C80C5755-4DD6-421C-B8C3-9EA2EF485E18}" srcOrd="7" destOrd="0" parTransId="{3DC878E7-C6CD-4864-B212-2350AE6E7C89}" sibTransId="{0C2211F6-1AFF-45DF-BBDA-ADFCD72F121E}"/>
    <dgm:cxn modelId="{7B00766B-EE3E-4033-B5A9-CCA8DDA11D9D}" type="presOf" srcId="{A7CAF89D-F3A2-49C4-A329-37261D293561}" destId="{51C4A2DA-F94C-4A0A-80C2-C8EC738BF09F}" srcOrd="0" destOrd="0" presId="urn:microsoft.com/office/officeart/2005/8/layout/lProcess2"/>
    <dgm:cxn modelId="{70DEBBC3-F5B7-4AB4-B588-B96293B27BC5}" srcId="{C21FD847-0129-4D6D-BA57-7BAD52678054}" destId="{27235878-80D4-4724-918D-2160D22C4C88}" srcOrd="2" destOrd="0" parTransId="{B0FA9B59-ED8B-466A-B0C5-9AB981B3FE40}" sibTransId="{06E667C5-07C5-47BF-A0E3-D8A018909DAA}"/>
    <dgm:cxn modelId="{4389C70D-1156-4646-9422-930317CDCA38}" srcId="{A7CAF89D-F3A2-49C4-A329-37261D293561}" destId="{C21FD847-0129-4D6D-BA57-7BAD52678054}" srcOrd="2" destOrd="0" parTransId="{57B24841-F742-4857-9102-6BE90EC0CB14}" sibTransId="{13AA6C12-13EA-4D86-9175-DE2AF1FB63AB}"/>
    <dgm:cxn modelId="{70073BAD-3CBE-4822-A6EA-743FF62B39D9}" srcId="{49420DE4-94C0-4C13-863D-58B23FFAEB1B}" destId="{0BE612B6-EF40-4081-83FD-6ACFC8C7E1EA}" srcOrd="0" destOrd="0" parTransId="{05583DB6-D833-46CE-BE2F-28CB8E26C734}" sibTransId="{C09A9A52-AAEA-48D0-A18A-F55BA0C40C11}"/>
    <dgm:cxn modelId="{6441942D-945C-49F3-8467-CBED4834DAF0}" srcId="{A804F316-55F4-45DD-8ABB-E76FCC286F13}" destId="{13C43ECC-AB65-4BE8-9047-E4DE7E3BC1D4}" srcOrd="5" destOrd="0" parTransId="{75DBAF8D-D2D5-4D2A-B262-D19BD00B5BA2}" sibTransId="{7216FFC2-ED69-43AF-92C8-D28D52C27553}"/>
    <dgm:cxn modelId="{DA671027-DC59-4616-8668-61569BF276DF}" type="presOf" srcId="{CC522D4C-5B32-4794-9FE8-2A666181D956}" destId="{3531149A-1EB1-4AE2-802D-C258AC60D32B}" srcOrd="1" destOrd="0" presId="urn:microsoft.com/office/officeart/2005/8/layout/lProcess2"/>
    <dgm:cxn modelId="{7A4C2581-5709-481D-8ECE-AA6DDD20D807}" srcId="{C21FD847-0129-4D6D-BA57-7BAD52678054}" destId="{0254410F-53A6-4870-9D34-6B377338F125}" srcOrd="1" destOrd="0" parTransId="{9095EEB8-C87F-420F-A321-C8DEEE1A93D5}" sibTransId="{AC271418-96A8-4B98-BC93-9B2DF1D6C623}"/>
    <dgm:cxn modelId="{5D7575D6-6969-4C74-A857-C3121016126A}" type="presOf" srcId="{0AF01DA9-912E-4C5F-893A-24B35FC55BD9}" destId="{5888E588-D8D1-4742-96DC-AAFC1B56F788}" srcOrd="0" destOrd="0" presId="urn:microsoft.com/office/officeart/2005/8/layout/lProcess2"/>
    <dgm:cxn modelId="{EE0220E5-94E8-4971-81D8-AE1364D1514F}" srcId="{49420DE4-94C0-4C13-863D-58B23FFAEB1B}" destId="{9BA2E335-6671-477A-8AD2-9600F0080D48}" srcOrd="2" destOrd="0" parTransId="{EF2DC45B-8190-4AE0-A775-91E82F9E6938}" sibTransId="{F9992987-F4CC-4BB0-A7EF-E02E281A23B2}"/>
    <dgm:cxn modelId="{CCEF0E74-3759-4CBB-83CF-6754FADDDE06}" srcId="{49420DE4-94C0-4C13-863D-58B23FFAEB1B}" destId="{47BC9568-F973-4C7B-94B9-73EF1A50B087}" srcOrd="5" destOrd="0" parTransId="{A44ADDB8-0FFD-45DC-BCD8-017747994A15}" sibTransId="{E56EB4A9-4931-4BEC-BA92-3B5E1394D4FF}"/>
    <dgm:cxn modelId="{7BDF7E68-CD36-4296-8A1D-4160D503BBE3}" type="presOf" srcId="{5AEF5240-169E-40CC-A2B4-2F7D9F8959DB}" destId="{0AEE71EE-9E53-4F5A-9F50-B59A247F7D05}" srcOrd="0" destOrd="0" presId="urn:microsoft.com/office/officeart/2005/8/layout/lProcess2"/>
    <dgm:cxn modelId="{4DA16339-C6C3-47CB-A0AA-F84CD51488AD}" type="presOf" srcId="{49420DE4-94C0-4C13-863D-58B23FFAEB1B}" destId="{9EC1931A-DB43-40EA-BE7F-0074FBDFC78F}" srcOrd="1" destOrd="0" presId="urn:microsoft.com/office/officeart/2005/8/layout/lProcess2"/>
    <dgm:cxn modelId="{BBF7ABC2-03D9-423B-A6C7-29CA2B794FEC}" type="presOf" srcId="{6C4D79A6-2271-4B66-A652-9875D6D2038D}" destId="{DD3BD930-5255-4FEE-AE40-D32D05AE5EB2}" srcOrd="0" destOrd="0" presId="urn:microsoft.com/office/officeart/2005/8/layout/lProcess2"/>
    <dgm:cxn modelId="{32541416-509B-4BAB-8DA2-C881295C4324}" type="presOf" srcId="{CC522D4C-5B32-4794-9FE8-2A666181D956}" destId="{5480C364-A462-4003-BB40-9916F747E303}" srcOrd="0" destOrd="0" presId="urn:microsoft.com/office/officeart/2005/8/layout/lProcess2"/>
    <dgm:cxn modelId="{C7355CFB-1E1E-44C3-A417-CD7023CFE471}" type="presOf" srcId="{85755C06-B80C-4BA7-AEFD-F008541019D1}" destId="{66929553-A49B-4D59-944F-88C7D4F6C878}" srcOrd="0" destOrd="0" presId="urn:microsoft.com/office/officeart/2005/8/layout/lProcess2"/>
    <dgm:cxn modelId="{A513C080-9737-49D6-A287-DB3EB7E3EFB8}" srcId="{A804F316-55F4-45DD-8ABB-E76FCC286F13}" destId="{AFC0B14B-FC6B-4686-9C50-5561EC672E4B}" srcOrd="4" destOrd="0" parTransId="{4B62F4A0-F78C-4E79-9BB4-B56007C07062}" sibTransId="{9A03E747-A9B0-4754-90FF-43A60605CE37}"/>
    <dgm:cxn modelId="{0C0BC378-EB11-4CDB-AECF-33C3CAEFAFF4}" srcId="{A804F316-55F4-45DD-8ABB-E76FCC286F13}" destId="{DC4278F9-ABFE-4AF8-A6A8-74165087DCE8}" srcOrd="7" destOrd="0" parTransId="{62B59EF6-27AA-442F-BD02-AAFDE2C02BDD}" sibTransId="{F53B1C75-CD8C-4F77-82F8-C627F7D9921A}"/>
    <dgm:cxn modelId="{15EC5ADD-DC5F-4210-A6C8-EB385507ADD9}" type="presOf" srcId="{BC738984-255F-48C5-B0F4-D32B124257CF}" destId="{AC00BD5B-535E-433E-8CA3-E8E9D7C906C4}" srcOrd="0" destOrd="0" presId="urn:microsoft.com/office/officeart/2005/8/layout/lProcess2"/>
    <dgm:cxn modelId="{38CD8919-B2A2-4F22-BE20-0E7D4BAAB712}" type="presParOf" srcId="{51C4A2DA-F94C-4A0A-80C2-C8EC738BF09F}" destId="{8DF35F57-85AC-4A59-BDD4-C4D12E7B9E39}" srcOrd="0" destOrd="0" presId="urn:microsoft.com/office/officeart/2005/8/layout/lProcess2"/>
    <dgm:cxn modelId="{A419E71C-9B45-4F8E-968B-D3F6D0EF827C}" type="presParOf" srcId="{8DF35F57-85AC-4A59-BDD4-C4D12E7B9E39}" destId="{5480C364-A462-4003-BB40-9916F747E303}" srcOrd="0" destOrd="0" presId="urn:microsoft.com/office/officeart/2005/8/layout/lProcess2"/>
    <dgm:cxn modelId="{810800E4-FB3C-4C58-BEDA-2ECE9B86AB4E}" type="presParOf" srcId="{8DF35F57-85AC-4A59-BDD4-C4D12E7B9E39}" destId="{3531149A-1EB1-4AE2-802D-C258AC60D32B}" srcOrd="1" destOrd="0" presId="urn:microsoft.com/office/officeart/2005/8/layout/lProcess2"/>
    <dgm:cxn modelId="{90C7475D-DF0C-4D59-8945-C99A1991566D}" type="presParOf" srcId="{8DF35F57-85AC-4A59-BDD4-C4D12E7B9E39}" destId="{F4F7FB7B-8F74-44A2-97C6-55859CB59957}" srcOrd="2" destOrd="0" presId="urn:microsoft.com/office/officeart/2005/8/layout/lProcess2"/>
    <dgm:cxn modelId="{D8CE5AB7-291C-4BAC-B248-53EC5A983B76}" type="presParOf" srcId="{F4F7FB7B-8F74-44A2-97C6-55859CB59957}" destId="{1E23B08D-DDBA-4086-B020-C19695D02B1A}" srcOrd="0" destOrd="0" presId="urn:microsoft.com/office/officeart/2005/8/layout/lProcess2"/>
    <dgm:cxn modelId="{1FEE244E-5DED-45FA-983D-B79EE387B1FC}" type="presParOf" srcId="{1E23B08D-DDBA-4086-B020-C19695D02B1A}" destId="{DD3BD930-5255-4FEE-AE40-D32D05AE5EB2}" srcOrd="0" destOrd="0" presId="urn:microsoft.com/office/officeart/2005/8/layout/lProcess2"/>
    <dgm:cxn modelId="{13B368B5-8A89-42E9-B5D4-B9A233066A70}" type="presParOf" srcId="{1E23B08D-DDBA-4086-B020-C19695D02B1A}" destId="{8113DD65-5270-4066-94A2-F2718721EB44}" srcOrd="1" destOrd="0" presId="urn:microsoft.com/office/officeart/2005/8/layout/lProcess2"/>
    <dgm:cxn modelId="{9897FC60-AF13-4196-824A-E32142CF2498}" type="presParOf" srcId="{1E23B08D-DDBA-4086-B020-C19695D02B1A}" destId="{BFB68BD0-5211-4BA3-AD55-6359414A33F8}" srcOrd="2" destOrd="0" presId="urn:microsoft.com/office/officeart/2005/8/layout/lProcess2"/>
    <dgm:cxn modelId="{9B2F4EB0-4019-4D37-A489-89718FE0D623}" type="presParOf" srcId="{1E23B08D-DDBA-4086-B020-C19695D02B1A}" destId="{EFC4F82C-3AA3-4C98-8BAF-F01AFDEEDF0C}" srcOrd="3" destOrd="0" presId="urn:microsoft.com/office/officeart/2005/8/layout/lProcess2"/>
    <dgm:cxn modelId="{C2DF3DCF-0EA1-4CBF-89B5-88B867EBF5DC}" type="presParOf" srcId="{1E23B08D-DDBA-4086-B020-C19695D02B1A}" destId="{66929553-A49B-4D59-944F-88C7D4F6C878}" srcOrd="4" destOrd="0" presId="urn:microsoft.com/office/officeart/2005/8/layout/lProcess2"/>
    <dgm:cxn modelId="{925C18DE-AC89-4129-A236-6CE4D232F178}" type="presParOf" srcId="{1E23B08D-DDBA-4086-B020-C19695D02B1A}" destId="{87912D33-D32D-4D71-93CC-BC4040AAF7AF}" srcOrd="5" destOrd="0" presId="urn:microsoft.com/office/officeart/2005/8/layout/lProcess2"/>
    <dgm:cxn modelId="{E99EFC98-34B5-4001-ABDB-8B158AD26738}" type="presParOf" srcId="{1E23B08D-DDBA-4086-B020-C19695D02B1A}" destId="{0AEE71EE-9E53-4F5A-9F50-B59A247F7D05}" srcOrd="6" destOrd="0" presId="urn:microsoft.com/office/officeart/2005/8/layout/lProcess2"/>
    <dgm:cxn modelId="{0EC07CB6-5AC0-478E-B12C-9169C3B14E15}" type="presParOf" srcId="{1E23B08D-DDBA-4086-B020-C19695D02B1A}" destId="{B78F5E9A-BF08-4BCC-88D1-2F7DFC21D245}" srcOrd="7" destOrd="0" presId="urn:microsoft.com/office/officeart/2005/8/layout/lProcess2"/>
    <dgm:cxn modelId="{5B0BB48F-B8EC-4ECB-8E26-6B65E9B1BE9F}" type="presParOf" srcId="{1E23B08D-DDBA-4086-B020-C19695D02B1A}" destId="{C4A00DC9-4522-44E5-8B75-BC23E9C9F114}" srcOrd="8" destOrd="0" presId="urn:microsoft.com/office/officeart/2005/8/layout/lProcess2"/>
    <dgm:cxn modelId="{2CD211DE-F684-4B90-B1C0-878D16F79982}" type="presParOf" srcId="{1E23B08D-DDBA-4086-B020-C19695D02B1A}" destId="{3BB4342E-ED31-466D-B40A-67C76844F80C}" srcOrd="9" destOrd="0" presId="urn:microsoft.com/office/officeart/2005/8/layout/lProcess2"/>
    <dgm:cxn modelId="{3F6BA295-CFF1-4D15-B020-A306CB09DA6A}" type="presParOf" srcId="{1E23B08D-DDBA-4086-B020-C19695D02B1A}" destId="{F4EBB973-CFBA-4119-A58D-1A1334296A98}" srcOrd="10" destOrd="0" presId="urn:microsoft.com/office/officeart/2005/8/layout/lProcess2"/>
    <dgm:cxn modelId="{E914C067-2DBC-4037-8F85-C3D83CA7BA95}" type="presParOf" srcId="{1E23B08D-DDBA-4086-B020-C19695D02B1A}" destId="{2C7D9D65-921A-48CD-B386-D20EF32F065E}" srcOrd="11" destOrd="0" presId="urn:microsoft.com/office/officeart/2005/8/layout/lProcess2"/>
    <dgm:cxn modelId="{7E1EE572-B3C1-4A1F-9A77-FF1B9C99A3A9}" type="presParOf" srcId="{1E23B08D-DDBA-4086-B020-C19695D02B1A}" destId="{FD55B901-6FEC-468C-8610-30396810AB6A}" srcOrd="12" destOrd="0" presId="urn:microsoft.com/office/officeart/2005/8/layout/lProcess2"/>
    <dgm:cxn modelId="{06F35A8C-AFF5-4152-9706-BA00C85845BB}" type="presParOf" srcId="{1E23B08D-DDBA-4086-B020-C19695D02B1A}" destId="{C9044B6A-CB0B-4522-A463-4A7C0F30806F}" srcOrd="13" destOrd="0" presId="urn:microsoft.com/office/officeart/2005/8/layout/lProcess2"/>
    <dgm:cxn modelId="{4EB50F4F-1507-499F-A932-3E5FEF9941F3}" type="presParOf" srcId="{1E23B08D-DDBA-4086-B020-C19695D02B1A}" destId="{2E72C1E4-F23E-4974-B98E-4E4CF9BF58E5}" srcOrd="14" destOrd="0" presId="urn:microsoft.com/office/officeart/2005/8/layout/lProcess2"/>
    <dgm:cxn modelId="{DF0FD08C-D65A-4FDB-89AB-68579AA4011E}" type="presParOf" srcId="{51C4A2DA-F94C-4A0A-80C2-C8EC738BF09F}" destId="{A4F1EFD8-3C3A-462C-88C4-A5B32038C535}" srcOrd="1" destOrd="0" presId="urn:microsoft.com/office/officeart/2005/8/layout/lProcess2"/>
    <dgm:cxn modelId="{EE76CF43-9CCD-4AF5-9E2A-C26FAD76D682}" type="presParOf" srcId="{51C4A2DA-F94C-4A0A-80C2-C8EC738BF09F}" destId="{125ED456-480D-4EBF-855A-E93A0FB4CD32}" srcOrd="2" destOrd="0" presId="urn:microsoft.com/office/officeart/2005/8/layout/lProcess2"/>
    <dgm:cxn modelId="{156B0A2E-0408-450E-885E-93FC792CFD33}" type="presParOf" srcId="{125ED456-480D-4EBF-855A-E93A0FB4CD32}" destId="{0B238ADB-536F-4D90-AFD9-EA7FBC03BA3C}" srcOrd="0" destOrd="0" presId="urn:microsoft.com/office/officeart/2005/8/layout/lProcess2"/>
    <dgm:cxn modelId="{43218A2C-2360-4598-82AC-810BC6A8A788}" type="presParOf" srcId="{125ED456-480D-4EBF-855A-E93A0FB4CD32}" destId="{A3FB03F4-6F67-4ED4-A5C2-A2BA15787E49}" srcOrd="1" destOrd="0" presId="urn:microsoft.com/office/officeart/2005/8/layout/lProcess2"/>
    <dgm:cxn modelId="{40D93A9A-DCC6-4419-9EBA-E95FC618F7D4}" type="presParOf" srcId="{125ED456-480D-4EBF-855A-E93A0FB4CD32}" destId="{4DA1058E-50D7-496F-B3D5-D819648B141B}" srcOrd="2" destOrd="0" presId="urn:microsoft.com/office/officeart/2005/8/layout/lProcess2"/>
    <dgm:cxn modelId="{600C0729-A30D-48E9-B1E4-D2029C211821}" type="presParOf" srcId="{4DA1058E-50D7-496F-B3D5-D819648B141B}" destId="{0CECB529-D637-4972-A2AB-6F411ED40D96}" srcOrd="0" destOrd="0" presId="urn:microsoft.com/office/officeart/2005/8/layout/lProcess2"/>
    <dgm:cxn modelId="{CEA677BE-58C5-4FCD-9B69-E680304447B1}" type="presParOf" srcId="{0CECB529-D637-4972-A2AB-6F411ED40D96}" destId="{E95B40FB-5CA8-48BF-A5C5-3D1E326C6E19}" srcOrd="0" destOrd="0" presId="urn:microsoft.com/office/officeart/2005/8/layout/lProcess2"/>
    <dgm:cxn modelId="{49CFCF00-9869-4F26-B967-9DF20800A6E0}" type="presParOf" srcId="{0CECB529-D637-4972-A2AB-6F411ED40D96}" destId="{E3C210C5-9EB3-4736-AD26-7647B1392C1F}" srcOrd="1" destOrd="0" presId="urn:microsoft.com/office/officeart/2005/8/layout/lProcess2"/>
    <dgm:cxn modelId="{03462EE9-2041-48AF-AB32-04B455A46FBB}" type="presParOf" srcId="{0CECB529-D637-4972-A2AB-6F411ED40D96}" destId="{4778F682-68C2-4D3D-A225-150C8C441116}" srcOrd="2" destOrd="0" presId="urn:microsoft.com/office/officeart/2005/8/layout/lProcess2"/>
    <dgm:cxn modelId="{2FB22965-DD8A-41CA-8EDC-27DFDB7885E4}" type="presParOf" srcId="{0CECB529-D637-4972-A2AB-6F411ED40D96}" destId="{8463A18E-E3E5-47FC-B781-98563737EFC7}" srcOrd="3" destOrd="0" presId="urn:microsoft.com/office/officeart/2005/8/layout/lProcess2"/>
    <dgm:cxn modelId="{BD301CA0-567B-4725-B8BF-2BC893F3000E}" type="presParOf" srcId="{0CECB529-D637-4972-A2AB-6F411ED40D96}" destId="{D0E0608C-E6EA-4F16-96CB-D1F66847E7D0}" srcOrd="4" destOrd="0" presId="urn:microsoft.com/office/officeart/2005/8/layout/lProcess2"/>
    <dgm:cxn modelId="{61BD4599-063C-44AF-A4BB-104FC7257BCF}" type="presParOf" srcId="{0CECB529-D637-4972-A2AB-6F411ED40D96}" destId="{6EC16A2F-9CFF-425E-9188-8474ABC17DA3}" srcOrd="5" destOrd="0" presId="urn:microsoft.com/office/officeart/2005/8/layout/lProcess2"/>
    <dgm:cxn modelId="{3FB743C8-CD50-422E-B409-8BBA76AB1977}" type="presParOf" srcId="{0CECB529-D637-4972-A2AB-6F411ED40D96}" destId="{0A6C2CE4-AF8A-4C7E-84BB-A283976338FF}" srcOrd="6" destOrd="0" presId="urn:microsoft.com/office/officeart/2005/8/layout/lProcess2"/>
    <dgm:cxn modelId="{013566E4-FB2F-4DE0-879B-4C985EA67157}" type="presParOf" srcId="{0CECB529-D637-4972-A2AB-6F411ED40D96}" destId="{A6B463F4-340F-43A1-982E-73FA23490CE4}" srcOrd="7" destOrd="0" presId="urn:microsoft.com/office/officeart/2005/8/layout/lProcess2"/>
    <dgm:cxn modelId="{AE7CAA11-5E6B-4905-8537-554C6B677FAD}" type="presParOf" srcId="{0CECB529-D637-4972-A2AB-6F411ED40D96}" destId="{7EB5DBA8-075A-4339-BD32-FBB6B80ABDD3}" srcOrd="8" destOrd="0" presId="urn:microsoft.com/office/officeart/2005/8/layout/lProcess2"/>
    <dgm:cxn modelId="{CC2FA791-14BA-455C-8851-4FE79A22342F}" type="presParOf" srcId="{0CECB529-D637-4972-A2AB-6F411ED40D96}" destId="{467D9C4D-693C-4590-BE85-64207D42CFA6}" srcOrd="9" destOrd="0" presId="urn:microsoft.com/office/officeart/2005/8/layout/lProcess2"/>
    <dgm:cxn modelId="{3529428C-41CF-4FF0-ADAE-FCF29140911B}" type="presParOf" srcId="{0CECB529-D637-4972-A2AB-6F411ED40D96}" destId="{1A1B33FD-C03E-4C10-975D-C0D59D094A60}" srcOrd="10" destOrd="0" presId="urn:microsoft.com/office/officeart/2005/8/layout/lProcess2"/>
    <dgm:cxn modelId="{D344325F-0FD8-44A4-B526-A8D1C48E1BBD}" type="presParOf" srcId="{0CECB529-D637-4972-A2AB-6F411ED40D96}" destId="{5B0F1281-1947-496B-926D-5AB81BB60C80}" srcOrd="11" destOrd="0" presId="urn:microsoft.com/office/officeart/2005/8/layout/lProcess2"/>
    <dgm:cxn modelId="{560678BD-65BC-4B71-81DA-2D8573416E10}" type="presParOf" srcId="{0CECB529-D637-4972-A2AB-6F411ED40D96}" destId="{A510099C-FEB0-4F8B-AA4F-7231965E5F92}" srcOrd="12" destOrd="0" presId="urn:microsoft.com/office/officeart/2005/8/layout/lProcess2"/>
    <dgm:cxn modelId="{85B246EB-3011-42A7-AAFC-FD5E758CFB72}" type="presParOf" srcId="{0CECB529-D637-4972-A2AB-6F411ED40D96}" destId="{2FD0DC92-5C03-472E-AB60-D5CCD0922207}" srcOrd="13" destOrd="0" presId="urn:microsoft.com/office/officeart/2005/8/layout/lProcess2"/>
    <dgm:cxn modelId="{32DF9497-3A46-4F46-B784-A8BBC202A09A}" type="presParOf" srcId="{0CECB529-D637-4972-A2AB-6F411ED40D96}" destId="{A0DF3792-9DE6-41FE-9ABE-61530FFB5A89}" srcOrd="14" destOrd="0" presId="urn:microsoft.com/office/officeart/2005/8/layout/lProcess2"/>
    <dgm:cxn modelId="{D0602388-4A37-40C3-BB49-C3387781D216}" type="presParOf" srcId="{0CECB529-D637-4972-A2AB-6F411ED40D96}" destId="{68E4D5D1-7BF7-4FAE-87C4-C35F0314256E}" srcOrd="15" destOrd="0" presId="urn:microsoft.com/office/officeart/2005/8/layout/lProcess2"/>
    <dgm:cxn modelId="{62A78E1C-9D7B-4FCB-823F-FDD92E1E877D}" type="presParOf" srcId="{0CECB529-D637-4972-A2AB-6F411ED40D96}" destId="{C8914C32-57F5-4EEE-B408-F746DBAF5929}" srcOrd="16" destOrd="0" presId="urn:microsoft.com/office/officeart/2005/8/layout/lProcess2"/>
    <dgm:cxn modelId="{A74B1392-44D5-43AE-8E8C-C15F128EED26}" type="presParOf" srcId="{0CECB529-D637-4972-A2AB-6F411ED40D96}" destId="{2C59FA88-61D8-4337-88A3-C422C403F7DF}" srcOrd="17" destOrd="0" presId="urn:microsoft.com/office/officeart/2005/8/layout/lProcess2"/>
    <dgm:cxn modelId="{6DAF038E-3628-4EA2-800A-93B3E8AC848A}" type="presParOf" srcId="{0CECB529-D637-4972-A2AB-6F411ED40D96}" destId="{5888E588-D8D1-4742-96DC-AAFC1B56F788}" srcOrd="18" destOrd="0" presId="urn:microsoft.com/office/officeart/2005/8/layout/lProcess2"/>
    <dgm:cxn modelId="{3F281926-BBBB-48E9-94BC-37A99DB9B9DB}" type="presParOf" srcId="{51C4A2DA-F94C-4A0A-80C2-C8EC738BF09F}" destId="{C9707BDF-FC84-4200-8605-034DCD77C546}" srcOrd="3" destOrd="0" presId="urn:microsoft.com/office/officeart/2005/8/layout/lProcess2"/>
    <dgm:cxn modelId="{F23E885E-06A8-46E2-BE13-3646740B9F18}" type="presParOf" srcId="{51C4A2DA-F94C-4A0A-80C2-C8EC738BF09F}" destId="{15416D6C-828F-4430-80E5-253157DBAE68}" srcOrd="4" destOrd="0" presId="urn:microsoft.com/office/officeart/2005/8/layout/lProcess2"/>
    <dgm:cxn modelId="{27E8B235-8AC3-4D8B-B2C5-206B2D75B064}" type="presParOf" srcId="{15416D6C-828F-4430-80E5-253157DBAE68}" destId="{46B48E48-1DC2-4414-B621-BD7952C5DFF1}" srcOrd="0" destOrd="0" presId="urn:microsoft.com/office/officeart/2005/8/layout/lProcess2"/>
    <dgm:cxn modelId="{0AD2648F-17FB-4317-929A-F6A491827D97}" type="presParOf" srcId="{15416D6C-828F-4430-80E5-253157DBAE68}" destId="{A6FD0123-D798-462B-B446-E8AC16F2995D}" srcOrd="1" destOrd="0" presId="urn:microsoft.com/office/officeart/2005/8/layout/lProcess2"/>
    <dgm:cxn modelId="{1CA12C50-F723-43CF-82BC-58085663E4B0}" type="presParOf" srcId="{15416D6C-828F-4430-80E5-253157DBAE68}" destId="{A4101307-521F-4A42-9C2E-C2AD0A279E3D}" srcOrd="2" destOrd="0" presId="urn:microsoft.com/office/officeart/2005/8/layout/lProcess2"/>
    <dgm:cxn modelId="{BEDD633A-C7C7-468D-8C96-B887DA5A33D9}" type="presParOf" srcId="{A4101307-521F-4A42-9C2E-C2AD0A279E3D}" destId="{9C43ACF9-0F8C-4CE8-BE7F-A6B0311A1B8B}" srcOrd="0" destOrd="0" presId="urn:microsoft.com/office/officeart/2005/8/layout/lProcess2"/>
    <dgm:cxn modelId="{2957D33B-CA50-48AB-8FAE-0BB24B8F2C39}" type="presParOf" srcId="{9C43ACF9-0F8C-4CE8-BE7F-A6B0311A1B8B}" destId="{99444B2E-7BCA-4183-8BC3-3C8333BEF1CA}" srcOrd="0" destOrd="0" presId="urn:microsoft.com/office/officeart/2005/8/layout/lProcess2"/>
    <dgm:cxn modelId="{C706506E-B6D7-4675-B30A-5B97AACABE73}" type="presParOf" srcId="{9C43ACF9-0F8C-4CE8-BE7F-A6B0311A1B8B}" destId="{7791A99F-8329-45D8-B27D-1E1C40085019}" srcOrd="1" destOrd="0" presId="urn:microsoft.com/office/officeart/2005/8/layout/lProcess2"/>
    <dgm:cxn modelId="{2D237E97-66E9-405C-8130-8A2F2906D9C3}" type="presParOf" srcId="{9C43ACF9-0F8C-4CE8-BE7F-A6B0311A1B8B}" destId="{DD738920-A6AA-4020-AACA-FC8F25515D3D}" srcOrd="2" destOrd="0" presId="urn:microsoft.com/office/officeart/2005/8/layout/lProcess2"/>
    <dgm:cxn modelId="{B38C6F84-3C56-41C8-9676-5ABA279A9811}" type="presParOf" srcId="{9C43ACF9-0F8C-4CE8-BE7F-A6B0311A1B8B}" destId="{EC9DDB36-B3D3-44A6-AC3A-9A9E6E6F54E6}" srcOrd="3" destOrd="0" presId="urn:microsoft.com/office/officeart/2005/8/layout/lProcess2"/>
    <dgm:cxn modelId="{8BDEF122-D4F6-4C19-AC21-E70BD1E6A90F}" type="presParOf" srcId="{9C43ACF9-0F8C-4CE8-BE7F-A6B0311A1B8B}" destId="{B5C998DD-554A-4D0D-8970-4A8D763A6B40}" srcOrd="4" destOrd="0" presId="urn:microsoft.com/office/officeart/2005/8/layout/lProcess2"/>
    <dgm:cxn modelId="{30DA804E-0105-41D9-8B71-E8488FBB70BF}" type="presParOf" srcId="{9C43ACF9-0F8C-4CE8-BE7F-A6B0311A1B8B}" destId="{8DA36DC4-BDAE-4358-BD43-811DFE67482E}" srcOrd="5" destOrd="0" presId="urn:microsoft.com/office/officeart/2005/8/layout/lProcess2"/>
    <dgm:cxn modelId="{D05A848A-272A-4117-B248-108B7EC4AA5F}" type="presParOf" srcId="{9C43ACF9-0F8C-4CE8-BE7F-A6B0311A1B8B}" destId="{4D4DE986-8F80-4353-B461-AF2DFF780FE1}" srcOrd="6" destOrd="0" presId="urn:microsoft.com/office/officeart/2005/8/layout/lProcess2"/>
    <dgm:cxn modelId="{E57D416D-FAA8-4DEB-B874-86DB8F26CECA}" type="presParOf" srcId="{51C4A2DA-F94C-4A0A-80C2-C8EC738BF09F}" destId="{2B550AF5-ACF5-4BFC-949C-8B3492198091}" srcOrd="5" destOrd="0" presId="urn:microsoft.com/office/officeart/2005/8/layout/lProcess2"/>
    <dgm:cxn modelId="{05767BE8-F73D-43FC-BF56-95B7DD5A7197}" type="presParOf" srcId="{51C4A2DA-F94C-4A0A-80C2-C8EC738BF09F}" destId="{98791991-64F0-4923-AB45-691BC7B305AD}" srcOrd="6" destOrd="0" presId="urn:microsoft.com/office/officeart/2005/8/layout/lProcess2"/>
    <dgm:cxn modelId="{D337F815-6D77-4FBD-8CE8-64EECF55F772}" type="presParOf" srcId="{98791991-64F0-4923-AB45-691BC7B305AD}" destId="{385E113D-74E7-40A6-B71D-815A6C8CD533}" srcOrd="0" destOrd="0" presId="urn:microsoft.com/office/officeart/2005/8/layout/lProcess2"/>
    <dgm:cxn modelId="{A6687A98-6967-4166-AF8C-B05AAD40110C}" type="presParOf" srcId="{98791991-64F0-4923-AB45-691BC7B305AD}" destId="{9EC1931A-DB43-40EA-BE7F-0074FBDFC78F}" srcOrd="1" destOrd="0" presId="urn:microsoft.com/office/officeart/2005/8/layout/lProcess2"/>
    <dgm:cxn modelId="{206E5DDE-BCA7-465D-AE02-525F56C8E36D}" type="presParOf" srcId="{98791991-64F0-4923-AB45-691BC7B305AD}" destId="{BDE0BD46-1819-4A2F-AC44-87F9710AAB22}" srcOrd="2" destOrd="0" presId="urn:microsoft.com/office/officeart/2005/8/layout/lProcess2"/>
    <dgm:cxn modelId="{96224FDA-2BAB-4FA5-BFDD-57F61EEB4C67}" type="presParOf" srcId="{BDE0BD46-1819-4A2F-AC44-87F9710AAB22}" destId="{D6537FC7-DAF8-4DBF-828A-CB8D95C9DEF1}" srcOrd="0" destOrd="0" presId="urn:microsoft.com/office/officeart/2005/8/layout/lProcess2"/>
    <dgm:cxn modelId="{A015FCE1-A476-47BF-A662-724F1536A52B}" type="presParOf" srcId="{D6537FC7-DAF8-4DBF-828A-CB8D95C9DEF1}" destId="{E89B695C-DD7D-44B3-9950-00C62E72C6D7}" srcOrd="0" destOrd="0" presId="urn:microsoft.com/office/officeart/2005/8/layout/lProcess2"/>
    <dgm:cxn modelId="{4AFA1154-218F-46CF-89F7-492EE5F0766F}" type="presParOf" srcId="{D6537FC7-DAF8-4DBF-828A-CB8D95C9DEF1}" destId="{10938CBA-E5BD-45D1-BAC0-1DEC9B6854FF}" srcOrd="1" destOrd="0" presId="urn:microsoft.com/office/officeart/2005/8/layout/lProcess2"/>
    <dgm:cxn modelId="{8C27AD86-514A-47AF-BDAE-7002EE084B14}" type="presParOf" srcId="{D6537FC7-DAF8-4DBF-828A-CB8D95C9DEF1}" destId="{3530B0D7-D399-4BDE-97E5-170F61EF68AE}" srcOrd="2" destOrd="0" presId="urn:microsoft.com/office/officeart/2005/8/layout/lProcess2"/>
    <dgm:cxn modelId="{64F76E70-E50A-43AC-95F4-5B3684B18F40}" type="presParOf" srcId="{D6537FC7-DAF8-4DBF-828A-CB8D95C9DEF1}" destId="{46563C05-0FC3-47B2-A286-CEE830ED2195}" srcOrd="3" destOrd="0" presId="urn:microsoft.com/office/officeart/2005/8/layout/lProcess2"/>
    <dgm:cxn modelId="{4205F0D2-D0C9-4B30-8608-D895129F14A5}" type="presParOf" srcId="{D6537FC7-DAF8-4DBF-828A-CB8D95C9DEF1}" destId="{4BF1E28C-1CDE-4FD4-85E5-B604075B15CF}" srcOrd="4" destOrd="0" presId="urn:microsoft.com/office/officeart/2005/8/layout/lProcess2"/>
    <dgm:cxn modelId="{1AAC9909-D287-43E4-9E92-C4116553DB63}" type="presParOf" srcId="{D6537FC7-DAF8-4DBF-828A-CB8D95C9DEF1}" destId="{8CB611B0-2002-4FAB-A96E-A92867416E82}" srcOrd="5" destOrd="0" presId="urn:microsoft.com/office/officeart/2005/8/layout/lProcess2"/>
    <dgm:cxn modelId="{FA782498-5115-48B7-8BD8-2B9C96CAAAF3}" type="presParOf" srcId="{D6537FC7-DAF8-4DBF-828A-CB8D95C9DEF1}" destId="{AC00BD5B-535E-433E-8CA3-E8E9D7C906C4}" srcOrd="6" destOrd="0" presId="urn:microsoft.com/office/officeart/2005/8/layout/lProcess2"/>
    <dgm:cxn modelId="{6F0A403C-4890-4B3C-9778-8D24DF32F727}" type="presParOf" srcId="{D6537FC7-DAF8-4DBF-828A-CB8D95C9DEF1}" destId="{5D85A9A5-66FE-43E8-95AC-30C32ACA806E}" srcOrd="7" destOrd="0" presId="urn:microsoft.com/office/officeart/2005/8/layout/lProcess2"/>
    <dgm:cxn modelId="{6B0B5127-E4B8-4402-ADA5-B463AC806904}" type="presParOf" srcId="{D6537FC7-DAF8-4DBF-828A-CB8D95C9DEF1}" destId="{A7DDC110-CC4D-4E88-AD66-382A45432CCA}" srcOrd="8" destOrd="0" presId="urn:microsoft.com/office/officeart/2005/8/layout/lProcess2"/>
    <dgm:cxn modelId="{28703E59-4735-4EB5-85AA-3E1FA3B927B4}" type="presParOf" srcId="{D6537FC7-DAF8-4DBF-828A-CB8D95C9DEF1}" destId="{9545EF6B-4C55-493D-8F1D-D010BBCAA1E9}" srcOrd="9" destOrd="0" presId="urn:microsoft.com/office/officeart/2005/8/layout/lProcess2"/>
    <dgm:cxn modelId="{50845836-B05A-4B6E-AB74-6A1CB40699E3}" type="presParOf" srcId="{D6537FC7-DAF8-4DBF-828A-CB8D95C9DEF1}" destId="{3CEF552E-3A82-41FC-ADF8-BF023B814D87}" srcOrd="1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CAF89D-F3A2-49C4-A329-37261D29356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CC522D4C-5B32-4794-9FE8-2A666181D956}">
      <dgm:prSet phldrT="[Text]" custT="1"/>
      <dgm:spPr/>
      <dgm:t>
        <a:bodyPr/>
        <a:lstStyle/>
        <a:p>
          <a:r>
            <a:rPr lang="hr-HR" sz="1800" dirty="0" smtClean="0"/>
            <a:t>Putno</a:t>
          </a:r>
          <a:endParaRPr lang="hr-HR" sz="1800" dirty="0"/>
        </a:p>
      </dgm:t>
    </dgm:pt>
    <dgm:pt modelId="{C139AB97-92A9-4261-AF64-136F64B6C011}" type="parTrans" cxnId="{DE2FD91E-9F87-41C4-8241-CA870260E41C}">
      <dgm:prSet/>
      <dgm:spPr/>
      <dgm:t>
        <a:bodyPr/>
        <a:lstStyle/>
        <a:p>
          <a:endParaRPr lang="hr-HR"/>
        </a:p>
      </dgm:t>
    </dgm:pt>
    <dgm:pt modelId="{DFAB12B8-9806-4474-BB7F-2FF431919433}" type="sibTrans" cxnId="{DE2FD91E-9F87-41C4-8241-CA870260E41C}">
      <dgm:prSet/>
      <dgm:spPr/>
      <dgm:t>
        <a:bodyPr/>
        <a:lstStyle/>
        <a:p>
          <a:endParaRPr lang="hr-HR"/>
        </a:p>
      </dgm:t>
    </dgm:pt>
    <dgm:pt modelId="{6C4D79A6-2271-4B66-A652-9875D6D2038D}">
      <dgm:prSet phldrT="[Text]"/>
      <dgm:spPr/>
      <dgm:t>
        <a:bodyPr/>
        <a:lstStyle/>
        <a:p>
          <a:r>
            <a:rPr lang="hr-HR" dirty="0" smtClean="0"/>
            <a:t>Putno 2GO</a:t>
          </a:r>
        </a:p>
      </dgm:t>
    </dgm:pt>
    <dgm:pt modelId="{D925552B-C6EB-4978-B27C-D1A0BF257571}" type="parTrans" cxnId="{ED6A3769-E055-4832-95EF-A0490ACE23E8}">
      <dgm:prSet/>
      <dgm:spPr/>
      <dgm:t>
        <a:bodyPr/>
        <a:lstStyle/>
        <a:p>
          <a:endParaRPr lang="hr-HR"/>
        </a:p>
      </dgm:t>
    </dgm:pt>
    <dgm:pt modelId="{9F4DC0A1-E951-4EB4-9B24-45E5D2876482}" type="sibTrans" cxnId="{ED6A3769-E055-4832-95EF-A0490ACE23E8}">
      <dgm:prSet/>
      <dgm:spPr/>
      <dgm:t>
        <a:bodyPr/>
        <a:lstStyle/>
        <a:p>
          <a:endParaRPr lang="hr-HR"/>
        </a:p>
      </dgm:t>
    </dgm:pt>
    <dgm:pt modelId="{A804F316-55F4-45DD-8ABB-E76FCC286F13}">
      <dgm:prSet phldrT="[Text]" custT="1"/>
      <dgm:spPr/>
      <dgm:t>
        <a:bodyPr/>
        <a:lstStyle/>
        <a:p>
          <a:r>
            <a:rPr lang="hr-HR" sz="1800" dirty="0" smtClean="0"/>
            <a:t>Plovila</a:t>
          </a:r>
          <a:endParaRPr lang="hr-HR" sz="1800" dirty="0"/>
        </a:p>
      </dgm:t>
    </dgm:pt>
    <dgm:pt modelId="{1D73DE77-618A-4CB8-95CE-AFD9925F6E93}" type="parTrans" cxnId="{9193557F-62A1-4C33-B748-92F0AD42D65A}">
      <dgm:prSet/>
      <dgm:spPr/>
      <dgm:t>
        <a:bodyPr/>
        <a:lstStyle/>
        <a:p>
          <a:endParaRPr lang="hr-HR"/>
        </a:p>
      </dgm:t>
    </dgm:pt>
    <dgm:pt modelId="{99D7CBBD-0AEC-4491-AA73-807C04D20C2E}" type="sibTrans" cxnId="{9193557F-62A1-4C33-B748-92F0AD42D65A}">
      <dgm:prSet/>
      <dgm:spPr/>
      <dgm:t>
        <a:bodyPr/>
        <a:lstStyle/>
        <a:p>
          <a:endParaRPr lang="hr-HR"/>
        </a:p>
      </dgm:t>
    </dgm:pt>
    <dgm:pt modelId="{44C38928-15A1-4D85-8EB5-56723DC58DA0}">
      <dgm:prSet phldrT="[Text]"/>
      <dgm:spPr/>
      <dgm:t>
        <a:bodyPr/>
        <a:lstStyle/>
        <a:p>
          <a:r>
            <a:rPr lang="hr-HR" dirty="0" smtClean="0"/>
            <a:t>Obvezno za plovila</a:t>
          </a:r>
          <a:endParaRPr lang="hr-HR" dirty="0"/>
        </a:p>
      </dgm:t>
    </dgm:pt>
    <dgm:pt modelId="{80C297BD-D4D9-4E8E-A684-BA1AC8310F6C}" type="parTrans" cxnId="{22DE73D8-9CAF-4D68-9EC9-E1E4AAB2618F}">
      <dgm:prSet/>
      <dgm:spPr/>
      <dgm:t>
        <a:bodyPr/>
        <a:lstStyle/>
        <a:p>
          <a:endParaRPr lang="hr-HR"/>
        </a:p>
      </dgm:t>
    </dgm:pt>
    <dgm:pt modelId="{0327E5E5-BD3C-441E-976F-8CCC635E4E34}" type="sibTrans" cxnId="{22DE73D8-9CAF-4D68-9EC9-E1E4AAB2618F}">
      <dgm:prSet/>
      <dgm:spPr/>
      <dgm:t>
        <a:bodyPr/>
        <a:lstStyle/>
        <a:p>
          <a:endParaRPr lang="hr-HR"/>
        </a:p>
      </dgm:t>
    </dgm:pt>
    <dgm:pt modelId="{C21FD847-0129-4D6D-BA57-7BAD52678054}">
      <dgm:prSet phldrT="[Text]" custT="1"/>
      <dgm:spPr/>
      <dgm:t>
        <a:bodyPr/>
        <a:lstStyle/>
        <a:p>
          <a:r>
            <a:rPr lang="hr-HR" sz="1800" dirty="0" smtClean="0"/>
            <a:t>Transport</a:t>
          </a:r>
          <a:endParaRPr lang="hr-HR" sz="1800" dirty="0"/>
        </a:p>
      </dgm:t>
    </dgm:pt>
    <dgm:pt modelId="{57B24841-F742-4857-9102-6BE90EC0CB14}" type="parTrans" cxnId="{4389C70D-1156-4646-9422-930317CDCA38}">
      <dgm:prSet/>
      <dgm:spPr/>
      <dgm:t>
        <a:bodyPr/>
        <a:lstStyle/>
        <a:p>
          <a:endParaRPr lang="hr-HR"/>
        </a:p>
      </dgm:t>
    </dgm:pt>
    <dgm:pt modelId="{13AA6C12-13EA-4D86-9175-DE2AF1FB63AB}" type="sibTrans" cxnId="{4389C70D-1156-4646-9422-930317CDCA38}">
      <dgm:prSet/>
      <dgm:spPr/>
      <dgm:t>
        <a:bodyPr/>
        <a:lstStyle/>
        <a:p>
          <a:endParaRPr lang="hr-HR"/>
        </a:p>
      </dgm:t>
    </dgm:pt>
    <dgm:pt modelId="{E49D269C-6F1F-4E43-B299-0E0A7CA3D9CE}">
      <dgm:prSet phldrT="[Text]"/>
      <dgm:spPr/>
      <dgm:t>
        <a:bodyPr/>
        <a:lstStyle/>
        <a:p>
          <a:r>
            <a:rPr lang="hr-HR" dirty="0" smtClean="0"/>
            <a:t>Prijevoznikova odgovornost za štete na pošiljkama u cestovnom prijevozu</a:t>
          </a:r>
          <a:endParaRPr lang="hr-HR" dirty="0"/>
        </a:p>
      </dgm:t>
    </dgm:pt>
    <dgm:pt modelId="{68D81E0A-C6EF-41A6-B1D1-E343450AC030}" type="parTrans" cxnId="{BF9723D7-E0A8-491C-A584-98FA76A29B5B}">
      <dgm:prSet/>
      <dgm:spPr/>
      <dgm:t>
        <a:bodyPr/>
        <a:lstStyle/>
        <a:p>
          <a:endParaRPr lang="hr-HR"/>
        </a:p>
      </dgm:t>
    </dgm:pt>
    <dgm:pt modelId="{65A5D022-16D3-4DC1-B576-A85C5624F8DA}" type="sibTrans" cxnId="{BF9723D7-E0A8-491C-A584-98FA76A29B5B}">
      <dgm:prSet/>
      <dgm:spPr/>
      <dgm:t>
        <a:bodyPr/>
        <a:lstStyle/>
        <a:p>
          <a:endParaRPr lang="hr-HR"/>
        </a:p>
      </dgm:t>
    </dgm:pt>
    <dgm:pt modelId="{49420DE4-94C0-4C13-863D-58B23FFAEB1B}">
      <dgm:prSet custT="1"/>
      <dgm:spPr/>
      <dgm:t>
        <a:bodyPr/>
        <a:lstStyle/>
        <a:p>
          <a:r>
            <a:rPr lang="hr-HR" sz="1800" dirty="0" smtClean="0"/>
            <a:t>Zdravstveno</a:t>
          </a:r>
          <a:endParaRPr lang="hr-HR" sz="1800" dirty="0"/>
        </a:p>
      </dgm:t>
    </dgm:pt>
    <dgm:pt modelId="{A9D5BC84-4C3B-4D31-A542-F5C8840237B3}" type="parTrans" cxnId="{EA8A24A0-886F-4ED6-91C9-B09550638AF2}">
      <dgm:prSet/>
      <dgm:spPr/>
      <dgm:t>
        <a:bodyPr/>
        <a:lstStyle/>
        <a:p>
          <a:endParaRPr lang="hr-HR"/>
        </a:p>
      </dgm:t>
    </dgm:pt>
    <dgm:pt modelId="{FFCAD8DF-BB23-4506-9ACA-C37B79C381A8}" type="sibTrans" cxnId="{EA8A24A0-886F-4ED6-91C9-B09550638AF2}">
      <dgm:prSet/>
      <dgm:spPr/>
      <dgm:t>
        <a:bodyPr/>
        <a:lstStyle/>
        <a:p>
          <a:endParaRPr lang="hr-HR"/>
        </a:p>
      </dgm:t>
    </dgm:pt>
    <dgm:pt modelId="{867CA1F8-0F42-41C7-A08E-183EA82CD58A}">
      <dgm:prSet phldrT="[Text]"/>
      <dgm:spPr/>
      <dgm:t>
        <a:bodyPr/>
        <a:lstStyle/>
        <a:p>
          <a:r>
            <a:rPr lang="hr-HR" dirty="0" smtClean="0"/>
            <a:t>Putno 2GO za skijaše</a:t>
          </a:r>
        </a:p>
      </dgm:t>
    </dgm:pt>
    <dgm:pt modelId="{4230B4FB-4E5D-4EF4-A813-6CDC092B1DAA}" type="parTrans" cxnId="{F27974FE-AF33-4425-BE4C-51FFEBE3F0F7}">
      <dgm:prSet/>
      <dgm:spPr/>
      <dgm:t>
        <a:bodyPr/>
        <a:lstStyle/>
        <a:p>
          <a:endParaRPr lang="hr-HR"/>
        </a:p>
      </dgm:t>
    </dgm:pt>
    <dgm:pt modelId="{74FA57D0-B0E5-4C6F-893C-D94F8B545BD8}" type="sibTrans" cxnId="{F27974FE-AF33-4425-BE4C-51FFEBE3F0F7}">
      <dgm:prSet/>
      <dgm:spPr/>
      <dgm:t>
        <a:bodyPr/>
        <a:lstStyle/>
        <a:p>
          <a:endParaRPr lang="hr-HR"/>
        </a:p>
      </dgm:t>
    </dgm:pt>
    <dgm:pt modelId="{C45ECE82-4FF8-417A-AF1D-5E655B3434D0}">
      <dgm:prSet phldrT="[Text]"/>
      <dgm:spPr/>
      <dgm:t>
        <a:bodyPr/>
        <a:lstStyle/>
        <a:p>
          <a:r>
            <a:rPr lang="hr-HR" dirty="0" smtClean="0"/>
            <a:t>Horizont</a:t>
          </a:r>
        </a:p>
      </dgm:t>
    </dgm:pt>
    <dgm:pt modelId="{1852FB3D-D8EE-4D21-95C1-EBF74D87CC11}" type="parTrans" cxnId="{F14AD00B-D9F9-4A35-911D-3754507BB2AB}">
      <dgm:prSet/>
      <dgm:spPr/>
      <dgm:t>
        <a:bodyPr/>
        <a:lstStyle/>
        <a:p>
          <a:endParaRPr lang="hr-HR"/>
        </a:p>
      </dgm:t>
    </dgm:pt>
    <dgm:pt modelId="{FBC27DBA-C541-4EF5-869E-0872CF889D11}" type="sibTrans" cxnId="{F14AD00B-D9F9-4A35-911D-3754507BB2AB}">
      <dgm:prSet/>
      <dgm:spPr/>
      <dgm:t>
        <a:bodyPr/>
        <a:lstStyle/>
        <a:p>
          <a:endParaRPr lang="hr-HR"/>
        </a:p>
      </dgm:t>
    </dgm:pt>
    <dgm:pt modelId="{7A42F3D3-89B4-4D45-A39F-439CDF826D7C}">
      <dgm:prSet phldrT="[Text]"/>
      <dgm:spPr/>
      <dgm:t>
        <a:bodyPr/>
        <a:lstStyle/>
        <a:p>
          <a:r>
            <a:rPr lang="hr-HR" dirty="0" smtClean="0"/>
            <a:t>Pahuljica</a:t>
          </a:r>
        </a:p>
      </dgm:t>
    </dgm:pt>
    <dgm:pt modelId="{16695A34-ABC0-47A6-9D13-1407148269E1}" type="parTrans" cxnId="{72FE3A9A-AD6B-4863-9476-9508CF33B12D}">
      <dgm:prSet/>
      <dgm:spPr/>
      <dgm:t>
        <a:bodyPr/>
        <a:lstStyle/>
        <a:p>
          <a:endParaRPr lang="hr-HR"/>
        </a:p>
      </dgm:t>
    </dgm:pt>
    <dgm:pt modelId="{D40FAA5B-A665-4922-9B6B-621E11E07B6C}" type="sibTrans" cxnId="{72FE3A9A-AD6B-4863-9476-9508CF33B12D}">
      <dgm:prSet/>
      <dgm:spPr/>
      <dgm:t>
        <a:bodyPr/>
        <a:lstStyle/>
        <a:p>
          <a:endParaRPr lang="hr-HR"/>
        </a:p>
      </dgm:t>
    </dgm:pt>
    <dgm:pt modelId="{8A1C6BBE-2289-4232-8546-BA4790EC9E3F}">
      <dgm:prSet phldrT="[Text]"/>
      <dgm:spPr/>
      <dgm:t>
        <a:bodyPr/>
        <a:lstStyle/>
        <a:p>
          <a:r>
            <a:rPr lang="hr-HR" dirty="0" smtClean="0"/>
            <a:t>Kasko za brodice i jahte</a:t>
          </a:r>
          <a:endParaRPr lang="hr-HR" dirty="0"/>
        </a:p>
      </dgm:t>
    </dgm:pt>
    <dgm:pt modelId="{89FE79A0-2B15-4C8F-A5A3-744BA006E3B3}" type="parTrans" cxnId="{0E5C7CBC-F48B-43F9-8511-94AFF950FB8A}">
      <dgm:prSet/>
      <dgm:spPr/>
      <dgm:t>
        <a:bodyPr/>
        <a:lstStyle/>
        <a:p>
          <a:endParaRPr lang="hr-HR"/>
        </a:p>
      </dgm:t>
    </dgm:pt>
    <dgm:pt modelId="{06749C85-5789-4FBA-993F-7A66C820A0EC}" type="sibTrans" cxnId="{0E5C7CBC-F48B-43F9-8511-94AFF950FB8A}">
      <dgm:prSet/>
      <dgm:spPr/>
      <dgm:t>
        <a:bodyPr/>
        <a:lstStyle/>
        <a:p>
          <a:endParaRPr lang="hr-HR"/>
        </a:p>
      </dgm:t>
    </dgm:pt>
    <dgm:pt modelId="{0ECC8CDE-8A2D-49C2-8A84-ADC862D4C6F8}">
      <dgm:prSet phldrT="[Text]"/>
      <dgm:spPr/>
      <dgm:t>
        <a:bodyPr/>
        <a:lstStyle/>
        <a:p>
          <a:r>
            <a:rPr lang="hr-HR" dirty="0" smtClean="0"/>
            <a:t>Osiguranje brodova</a:t>
          </a:r>
          <a:endParaRPr lang="hr-HR" dirty="0"/>
        </a:p>
      </dgm:t>
    </dgm:pt>
    <dgm:pt modelId="{F53F0587-2F1A-4790-B102-48ECD42EA94D}" type="parTrans" cxnId="{AB93B42B-8361-4365-9F11-B5D7350000C4}">
      <dgm:prSet/>
      <dgm:spPr/>
      <dgm:t>
        <a:bodyPr/>
        <a:lstStyle/>
        <a:p>
          <a:endParaRPr lang="hr-HR"/>
        </a:p>
      </dgm:t>
    </dgm:pt>
    <dgm:pt modelId="{6991FB7D-542B-4664-A609-7CDEB1DADCC6}" type="sibTrans" cxnId="{AB93B42B-8361-4365-9F11-B5D7350000C4}">
      <dgm:prSet/>
      <dgm:spPr/>
      <dgm:t>
        <a:bodyPr/>
        <a:lstStyle/>
        <a:p>
          <a:endParaRPr lang="hr-HR"/>
        </a:p>
      </dgm:t>
    </dgm:pt>
    <dgm:pt modelId="{B1A60CC6-33C0-435D-AA75-A83FBFADDB5C}">
      <dgm:prSet phldrT="[Text]"/>
      <dgm:spPr/>
      <dgm:t>
        <a:bodyPr/>
        <a:lstStyle/>
        <a:p>
          <a:r>
            <a:rPr lang="hr-HR" dirty="0" smtClean="0"/>
            <a:t>Osiguranje od odgovornosti skipera</a:t>
          </a:r>
          <a:endParaRPr lang="hr-HR" dirty="0"/>
        </a:p>
      </dgm:t>
    </dgm:pt>
    <dgm:pt modelId="{8C83A541-61CC-4087-B0BE-F349494F345F}" type="parTrans" cxnId="{D7721CB4-D3A0-4039-9A64-2E2DDEB7C74F}">
      <dgm:prSet/>
      <dgm:spPr/>
      <dgm:t>
        <a:bodyPr/>
        <a:lstStyle/>
        <a:p>
          <a:endParaRPr lang="hr-HR"/>
        </a:p>
      </dgm:t>
    </dgm:pt>
    <dgm:pt modelId="{EBC7ADE4-04B6-4DCD-B7BC-BD9889AF79F7}" type="sibTrans" cxnId="{D7721CB4-D3A0-4039-9A64-2E2DDEB7C74F}">
      <dgm:prSet/>
      <dgm:spPr/>
      <dgm:t>
        <a:bodyPr/>
        <a:lstStyle/>
        <a:p>
          <a:endParaRPr lang="hr-HR"/>
        </a:p>
      </dgm:t>
    </dgm:pt>
    <dgm:pt modelId="{EA81D16A-05AE-4AA7-BDA8-E549224D15DD}">
      <dgm:prSet phldrT="[Text]"/>
      <dgm:spPr/>
      <dgm:t>
        <a:bodyPr/>
        <a:lstStyle/>
        <a:p>
          <a:r>
            <a:rPr lang="hr-HR" dirty="0" smtClean="0"/>
            <a:t>Brodovi u izgradnji</a:t>
          </a:r>
          <a:endParaRPr lang="hr-HR" dirty="0"/>
        </a:p>
      </dgm:t>
    </dgm:pt>
    <dgm:pt modelId="{293370C9-2ED2-449E-B7A8-C7CBB87504F7}" type="parTrans" cxnId="{C28294FB-F484-4BE0-8DD5-A72C62F9E0B7}">
      <dgm:prSet/>
      <dgm:spPr/>
      <dgm:t>
        <a:bodyPr/>
        <a:lstStyle/>
        <a:p>
          <a:endParaRPr lang="hr-HR"/>
        </a:p>
      </dgm:t>
    </dgm:pt>
    <dgm:pt modelId="{98571BEA-367C-48BB-8941-26DCF1A1D64B}" type="sibTrans" cxnId="{C28294FB-F484-4BE0-8DD5-A72C62F9E0B7}">
      <dgm:prSet/>
      <dgm:spPr/>
      <dgm:t>
        <a:bodyPr/>
        <a:lstStyle/>
        <a:p>
          <a:endParaRPr lang="hr-HR"/>
        </a:p>
      </dgm:t>
    </dgm:pt>
    <dgm:pt modelId="{730C74E3-1F95-4668-8929-0F0CB3E45531}">
      <dgm:prSet phldrT="[Text]"/>
      <dgm:spPr/>
      <dgm:t>
        <a:bodyPr/>
        <a:lstStyle/>
        <a:p>
          <a:r>
            <a:rPr lang="hr-HR" dirty="0" smtClean="0"/>
            <a:t>Odgovornost popravljača plovila</a:t>
          </a:r>
          <a:endParaRPr lang="hr-HR" dirty="0"/>
        </a:p>
      </dgm:t>
    </dgm:pt>
    <dgm:pt modelId="{356B2E74-31C8-4559-AF04-5F522B0067F4}" type="parTrans" cxnId="{F02543C4-FCF0-47C0-9E99-C578E7A24DB4}">
      <dgm:prSet/>
      <dgm:spPr/>
      <dgm:t>
        <a:bodyPr/>
        <a:lstStyle/>
        <a:p>
          <a:endParaRPr lang="hr-HR"/>
        </a:p>
      </dgm:t>
    </dgm:pt>
    <dgm:pt modelId="{10EBDE64-1E28-4BBE-A1DA-B0367E82CD53}" type="sibTrans" cxnId="{F02543C4-FCF0-47C0-9E99-C578E7A24DB4}">
      <dgm:prSet/>
      <dgm:spPr/>
      <dgm:t>
        <a:bodyPr/>
        <a:lstStyle/>
        <a:p>
          <a:endParaRPr lang="hr-HR"/>
        </a:p>
      </dgm:t>
    </dgm:pt>
    <dgm:pt modelId="{64C44979-0587-402B-9E86-A8E7874910EF}">
      <dgm:prSet phldrT="[Text]"/>
      <dgm:spPr/>
      <dgm:t>
        <a:bodyPr/>
        <a:lstStyle/>
        <a:p>
          <a:r>
            <a:rPr lang="hr-HR" dirty="0" smtClean="0"/>
            <a:t>Roba u prijevozu</a:t>
          </a:r>
          <a:endParaRPr lang="hr-HR" dirty="0"/>
        </a:p>
      </dgm:t>
    </dgm:pt>
    <dgm:pt modelId="{134F1ADA-899B-43F9-BF86-AAA64166A5F7}" type="parTrans" cxnId="{E8E2FF3F-A7CB-4827-AE4C-6A746423CBA4}">
      <dgm:prSet/>
      <dgm:spPr/>
      <dgm:t>
        <a:bodyPr/>
        <a:lstStyle/>
        <a:p>
          <a:endParaRPr lang="hr-HR"/>
        </a:p>
      </dgm:t>
    </dgm:pt>
    <dgm:pt modelId="{5CD1262D-7CE9-4FD9-B27F-8A26600B4E28}" type="sibTrans" cxnId="{E8E2FF3F-A7CB-4827-AE4C-6A746423CBA4}">
      <dgm:prSet/>
      <dgm:spPr/>
      <dgm:t>
        <a:bodyPr/>
        <a:lstStyle/>
        <a:p>
          <a:endParaRPr lang="hr-HR"/>
        </a:p>
      </dgm:t>
    </dgm:pt>
    <dgm:pt modelId="{0BE612B6-EF40-4081-83FD-6ACFC8C7E1EA}">
      <dgm:prSet/>
      <dgm:spPr/>
      <dgm:t>
        <a:bodyPr/>
        <a:lstStyle/>
        <a:p>
          <a:r>
            <a:rPr lang="hr-HR" dirty="0" smtClean="0"/>
            <a:t>Dopunsko</a:t>
          </a:r>
        </a:p>
      </dgm:t>
    </dgm:pt>
    <dgm:pt modelId="{C09A9A52-AAEA-48D0-A18A-F55BA0C40C11}" type="sibTrans" cxnId="{70073BAD-3CBE-4822-A6EA-743FF62B39D9}">
      <dgm:prSet/>
      <dgm:spPr/>
      <dgm:t>
        <a:bodyPr/>
        <a:lstStyle/>
        <a:p>
          <a:endParaRPr lang="hr-HR"/>
        </a:p>
      </dgm:t>
    </dgm:pt>
    <dgm:pt modelId="{05583DB6-D833-46CE-BE2F-28CB8E26C734}" type="parTrans" cxnId="{70073BAD-3CBE-4822-A6EA-743FF62B39D9}">
      <dgm:prSet/>
      <dgm:spPr/>
      <dgm:t>
        <a:bodyPr/>
        <a:lstStyle/>
        <a:p>
          <a:endParaRPr lang="hr-HR"/>
        </a:p>
      </dgm:t>
    </dgm:pt>
    <dgm:pt modelId="{51C4A2DA-F94C-4A0A-80C2-C8EC738BF09F}" type="pres">
      <dgm:prSet presAssocID="{A7CAF89D-F3A2-49C4-A329-37261D293561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r-HR"/>
        </a:p>
      </dgm:t>
    </dgm:pt>
    <dgm:pt modelId="{8DF35F57-85AC-4A59-BDD4-C4D12E7B9E39}" type="pres">
      <dgm:prSet presAssocID="{CC522D4C-5B32-4794-9FE8-2A666181D956}" presName="compNode" presStyleCnt="0"/>
      <dgm:spPr/>
    </dgm:pt>
    <dgm:pt modelId="{5480C364-A462-4003-BB40-9916F747E303}" type="pres">
      <dgm:prSet presAssocID="{CC522D4C-5B32-4794-9FE8-2A666181D956}" presName="aNode" presStyleLbl="bgShp" presStyleIdx="0" presStyleCnt="4" custLinFactNeighborX="-38"/>
      <dgm:spPr/>
      <dgm:t>
        <a:bodyPr/>
        <a:lstStyle/>
        <a:p>
          <a:endParaRPr lang="hr-HR"/>
        </a:p>
      </dgm:t>
    </dgm:pt>
    <dgm:pt modelId="{3531149A-1EB1-4AE2-802D-C258AC60D32B}" type="pres">
      <dgm:prSet presAssocID="{CC522D4C-5B32-4794-9FE8-2A666181D956}" presName="textNode" presStyleLbl="bgShp" presStyleIdx="0" presStyleCnt="4"/>
      <dgm:spPr/>
      <dgm:t>
        <a:bodyPr/>
        <a:lstStyle/>
        <a:p>
          <a:endParaRPr lang="hr-HR"/>
        </a:p>
      </dgm:t>
    </dgm:pt>
    <dgm:pt modelId="{F4F7FB7B-8F74-44A2-97C6-55859CB59957}" type="pres">
      <dgm:prSet presAssocID="{CC522D4C-5B32-4794-9FE8-2A666181D956}" presName="compChildNode" presStyleCnt="0"/>
      <dgm:spPr/>
    </dgm:pt>
    <dgm:pt modelId="{1E23B08D-DDBA-4086-B020-C19695D02B1A}" type="pres">
      <dgm:prSet presAssocID="{CC522D4C-5B32-4794-9FE8-2A666181D956}" presName="theInnerList" presStyleCnt="0"/>
      <dgm:spPr/>
    </dgm:pt>
    <dgm:pt modelId="{DD3BD930-5255-4FEE-AE40-D32D05AE5EB2}" type="pres">
      <dgm:prSet presAssocID="{6C4D79A6-2271-4B66-A652-9875D6D2038D}" presName="childNode" presStyleLbl="node1" presStyleIdx="0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8113DD65-5270-4066-94A2-F2718721EB44}" type="pres">
      <dgm:prSet presAssocID="{6C4D79A6-2271-4B66-A652-9875D6D2038D}" presName="aSpace2" presStyleCnt="0"/>
      <dgm:spPr/>
    </dgm:pt>
    <dgm:pt modelId="{CAFA3952-9DD0-48F5-9C9A-916A9746633B}" type="pres">
      <dgm:prSet presAssocID="{867CA1F8-0F42-41C7-A08E-183EA82CD58A}" presName="childNode" presStyleLbl="node1" presStyleIdx="1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514D2451-BF36-4522-8D9F-F24C27D450ED}" type="pres">
      <dgm:prSet presAssocID="{867CA1F8-0F42-41C7-A08E-183EA82CD58A}" presName="aSpace2" presStyleCnt="0"/>
      <dgm:spPr/>
    </dgm:pt>
    <dgm:pt modelId="{BA8A21B9-61FB-4AF6-8C6F-423198768018}" type="pres">
      <dgm:prSet presAssocID="{C45ECE82-4FF8-417A-AF1D-5E655B3434D0}" presName="childNode" presStyleLbl="node1" presStyleIdx="2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CF66763-79FB-4D1F-97BC-09D57D4AE9A7}" type="pres">
      <dgm:prSet presAssocID="{C45ECE82-4FF8-417A-AF1D-5E655B3434D0}" presName="aSpace2" presStyleCnt="0"/>
      <dgm:spPr/>
    </dgm:pt>
    <dgm:pt modelId="{8FA29A64-D5D7-4138-82EF-09A0C0DBDBDD}" type="pres">
      <dgm:prSet presAssocID="{7A42F3D3-89B4-4D45-A39F-439CDF826D7C}" presName="childNode" presStyleLbl="node1" presStyleIdx="3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A4F1EFD8-3C3A-462C-88C4-A5B32038C535}" type="pres">
      <dgm:prSet presAssocID="{CC522D4C-5B32-4794-9FE8-2A666181D956}" presName="aSpace" presStyleCnt="0"/>
      <dgm:spPr/>
    </dgm:pt>
    <dgm:pt modelId="{125ED456-480D-4EBF-855A-E93A0FB4CD32}" type="pres">
      <dgm:prSet presAssocID="{A804F316-55F4-45DD-8ABB-E76FCC286F13}" presName="compNode" presStyleCnt="0"/>
      <dgm:spPr/>
    </dgm:pt>
    <dgm:pt modelId="{0B238ADB-536F-4D90-AFD9-EA7FBC03BA3C}" type="pres">
      <dgm:prSet presAssocID="{A804F316-55F4-45DD-8ABB-E76FCC286F13}" presName="aNode" presStyleLbl="bgShp" presStyleIdx="1" presStyleCnt="4"/>
      <dgm:spPr/>
      <dgm:t>
        <a:bodyPr/>
        <a:lstStyle/>
        <a:p>
          <a:endParaRPr lang="hr-HR"/>
        </a:p>
      </dgm:t>
    </dgm:pt>
    <dgm:pt modelId="{A3FB03F4-6F67-4ED4-A5C2-A2BA15787E49}" type="pres">
      <dgm:prSet presAssocID="{A804F316-55F4-45DD-8ABB-E76FCC286F13}" presName="textNode" presStyleLbl="bgShp" presStyleIdx="1" presStyleCnt="4"/>
      <dgm:spPr/>
      <dgm:t>
        <a:bodyPr/>
        <a:lstStyle/>
        <a:p>
          <a:endParaRPr lang="hr-HR"/>
        </a:p>
      </dgm:t>
    </dgm:pt>
    <dgm:pt modelId="{4DA1058E-50D7-496F-B3D5-D819648B141B}" type="pres">
      <dgm:prSet presAssocID="{A804F316-55F4-45DD-8ABB-E76FCC286F13}" presName="compChildNode" presStyleCnt="0"/>
      <dgm:spPr/>
    </dgm:pt>
    <dgm:pt modelId="{0CECB529-D637-4972-A2AB-6F411ED40D96}" type="pres">
      <dgm:prSet presAssocID="{A804F316-55F4-45DD-8ABB-E76FCC286F13}" presName="theInnerList" presStyleCnt="0"/>
      <dgm:spPr/>
    </dgm:pt>
    <dgm:pt modelId="{E95B40FB-5CA8-48BF-A5C5-3D1E326C6E19}" type="pres">
      <dgm:prSet presAssocID="{44C38928-15A1-4D85-8EB5-56723DC58DA0}" presName="childNode" presStyleLbl="node1" presStyleIdx="4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E3C210C5-9EB3-4736-AD26-7647B1392C1F}" type="pres">
      <dgm:prSet presAssocID="{44C38928-15A1-4D85-8EB5-56723DC58DA0}" presName="aSpace2" presStyleCnt="0"/>
      <dgm:spPr/>
    </dgm:pt>
    <dgm:pt modelId="{8220B28B-E415-40BA-A402-C97B1D33F56E}" type="pres">
      <dgm:prSet presAssocID="{8A1C6BBE-2289-4232-8546-BA4790EC9E3F}" presName="childNode" presStyleLbl="node1" presStyleIdx="5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B55DE289-8CC3-485E-AFA6-8A9CB2DEAAC5}" type="pres">
      <dgm:prSet presAssocID="{8A1C6BBE-2289-4232-8546-BA4790EC9E3F}" presName="aSpace2" presStyleCnt="0"/>
      <dgm:spPr/>
    </dgm:pt>
    <dgm:pt modelId="{EECE0709-95F1-430D-A181-A545A6DEE441}" type="pres">
      <dgm:prSet presAssocID="{0ECC8CDE-8A2D-49C2-8A84-ADC862D4C6F8}" presName="childNode" presStyleLbl="node1" presStyleIdx="6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632558EE-06A0-499A-B725-0D9B8815708D}" type="pres">
      <dgm:prSet presAssocID="{0ECC8CDE-8A2D-49C2-8A84-ADC862D4C6F8}" presName="aSpace2" presStyleCnt="0"/>
      <dgm:spPr/>
    </dgm:pt>
    <dgm:pt modelId="{2348B09A-50DB-49F2-9050-D4BDBBA7E2E0}" type="pres">
      <dgm:prSet presAssocID="{B1A60CC6-33C0-435D-AA75-A83FBFADDB5C}" presName="childNode" presStyleLbl="node1" presStyleIdx="7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41B8BDE3-FE78-49AD-826A-7F5AAD62EFBF}" type="pres">
      <dgm:prSet presAssocID="{B1A60CC6-33C0-435D-AA75-A83FBFADDB5C}" presName="aSpace2" presStyleCnt="0"/>
      <dgm:spPr/>
    </dgm:pt>
    <dgm:pt modelId="{5A851137-C1A9-4D5A-B55A-0EFB22471695}" type="pres">
      <dgm:prSet presAssocID="{EA81D16A-05AE-4AA7-BDA8-E549224D15DD}" presName="childNode" presStyleLbl="node1" presStyleIdx="8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DD1E5E7-AABF-423E-BC37-0034402A2257}" type="pres">
      <dgm:prSet presAssocID="{EA81D16A-05AE-4AA7-BDA8-E549224D15DD}" presName="aSpace2" presStyleCnt="0"/>
      <dgm:spPr/>
    </dgm:pt>
    <dgm:pt modelId="{6A1BE4A9-76F7-4533-A634-9CC20B8BBB00}" type="pres">
      <dgm:prSet presAssocID="{730C74E3-1F95-4668-8929-0F0CB3E45531}" presName="childNode" presStyleLbl="node1" presStyleIdx="9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C9707BDF-FC84-4200-8605-034DCD77C546}" type="pres">
      <dgm:prSet presAssocID="{A804F316-55F4-45DD-8ABB-E76FCC286F13}" presName="aSpace" presStyleCnt="0"/>
      <dgm:spPr/>
    </dgm:pt>
    <dgm:pt modelId="{15416D6C-828F-4430-80E5-253157DBAE68}" type="pres">
      <dgm:prSet presAssocID="{C21FD847-0129-4D6D-BA57-7BAD52678054}" presName="compNode" presStyleCnt="0"/>
      <dgm:spPr/>
    </dgm:pt>
    <dgm:pt modelId="{46B48E48-1DC2-4414-B621-BD7952C5DFF1}" type="pres">
      <dgm:prSet presAssocID="{C21FD847-0129-4D6D-BA57-7BAD52678054}" presName="aNode" presStyleLbl="bgShp" presStyleIdx="2" presStyleCnt="4"/>
      <dgm:spPr/>
      <dgm:t>
        <a:bodyPr/>
        <a:lstStyle/>
        <a:p>
          <a:endParaRPr lang="hr-HR"/>
        </a:p>
      </dgm:t>
    </dgm:pt>
    <dgm:pt modelId="{A6FD0123-D798-462B-B446-E8AC16F2995D}" type="pres">
      <dgm:prSet presAssocID="{C21FD847-0129-4D6D-BA57-7BAD52678054}" presName="textNode" presStyleLbl="bgShp" presStyleIdx="2" presStyleCnt="4"/>
      <dgm:spPr/>
      <dgm:t>
        <a:bodyPr/>
        <a:lstStyle/>
        <a:p>
          <a:endParaRPr lang="hr-HR"/>
        </a:p>
      </dgm:t>
    </dgm:pt>
    <dgm:pt modelId="{A4101307-521F-4A42-9C2E-C2AD0A279E3D}" type="pres">
      <dgm:prSet presAssocID="{C21FD847-0129-4D6D-BA57-7BAD52678054}" presName="compChildNode" presStyleCnt="0"/>
      <dgm:spPr/>
    </dgm:pt>
    <dgm:pt modelId="{9C43ACF9-0F8C-4CE8-BE7F-A6B0311A1B8B}" type="pres">
      <dgm:prSet presAssocID="{C21FD847-0129-4D6D-BA57-7BAD52678054}" presName="theInnerList" presStyleCnt="0"/>
      <dgm:spPr/>
    </dgm:pt>
    <dgm:pt modelId="{99444B2E-7BCA-4183-8BC3-3C8333BEF1CA}" type="pres">
      <dgm:prSet presAssocID="{E49D269C-6F1F-4E43-B299-0E0A7CA3D9CE}" presName="childNode" presStyleLbl="node1" presStyleIdx="10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7791A99F-8329-45D8-B27D-1E1C40085019}" type="pres">
      <dgm:prSet presAssocID="{E49D269C-6F1F-4E43-B299-0E0A7CA3D9CE}" presName="aSpace2" presStyleCnt="0"/>
      <dgm:spPr/>
    </dgm:pt>
    <dgm:pt modelId="{9753183C-7E93-41A7-98AC-EE4D9EE86910}" type="pres">
      <dgm:prSet presAssocID="{64C44979-0587-402B-9E86-A8E7874910EF}" presName="childNode" presStyleLbl="node1" presStyleIdx="11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  <dgm:pt modelId="{2B550AF5-ACF5-4BFC-949C-8B3492198091}" type="pres">
      <dgm:prSet presAssocID="{C21FD847-0129-4D6D-BA57-7BAD52678054}" presName="aSpace" presStyleCnt="0"/>
      <dgm:spPr/>
    </dgm:pt>
    <dgm:pt modelId="{98791991-64F0-4923-AB45-691BC7B305AD}" type="pres">
      <dgm:prSet presAssocID="{49420DE4-94C0-4C13-863D-58B23FFAEB1B}" presName="compNode" presStyleCnt="0"/>
      <dgm:spPr/>
    </dgm:pt>
    <dgm:pt modelId="{385E113D-74E7-40A6-B71D-815A6C8CD533}" type="pres">
      <dgm:prSet presAssocID="{49420DE4-94C0-4C13-863D-58B23FFAEB1B}" presName="aNode" presStyleLbl="bgShp" presStyleIdx="3" presStyleCnt="4"/>
      <dgm:spPr/>
      <dgm:t>
        <a:bodyPr/>
        <a:lstStyle/>
        <a:p>
          <a:endParaRPr lang="hr-HR"/>
        </a:p>
      </dgm:t>
    </dgm:pt>
    <dgm:pt modelId="{9EC1931A-DB43-40EA-BE7F-0074FBDFC78F}" type="pres">
      <dgm:prSet presAssocID="{49420DE4-94C0-4C13-863D-58B23FFAEB1B}" presName="textNode" presStyleLbl="bgShp" presStyleIdx="3" presStyleCnt="4"/>
      <dgm:spPr/>
      <dgm:t>
        <a:bodyPr/>
        <a:lstStyle/>
        <a:p>
          <a:endParaRPr lang="hr-HR"/>
        </a:p>
      </dgm:t>
    </dgm:pt>
    <dgm:pt modelId="{BDE0BD46-1819-4A2F-AC44-87F9710AAB22}" type="pres">
      <dgm:prSet presAssocID="{49420DE4-94C0-4C13-863D-58B23FFAEB1B}" presName="compChildNode" presStyleCnt="0"/>
      <dgm:spPr/>
    </dgm:pt>
    <dgm:pt modelId="{D6537FC7-DAF8-4DBF-828A-CB8D95C9DEF1}" type="pres">
      <dgm:prSet presAssocID="{49420DE4-94C0-4C13-863D-58B23FFAEB1B}" presName="theInnerList" presStyleCnt="0"/>
      <dgm:spPr/>
    </dgm:pt>
    <dgm:pt modelId="{E89B695C-DD7D-44B3-9950-00C62E72C6D7}" type="pres">
      <dgm:prSet presAssocID="{0BE612B6-EF40-4081-83FD-6ACFC8C7E1EA}" presName="childNode" presStyleLbl="node1" presStyleIdx="12" presStyleCnt="13">
        <dgm:presLayoutVars>
          <dgm:bulletEnabled val="1"/>
        </dgm:presLayoutVars>
      </dgm:prSet>
      <dgm:spPr/>
      <dgm:t>
        <a:bodyPr/>
        <a:lstStyle/>
        <a:p>
          <a:endParaRPr lang="hr-HR"/>
        </a:p>
      </dgm:t>
    </dgm:pt>
  </dgm:ptLst>
  <dgm:cxnLst>
    <dgm:cxn modelId="{70073BAD-3CBE-4822-A6EA-743FF62B39D9}" srcId="{49420DE4-94C0-4C13-863D-58B23FFAEB1B}" destId="{0BE612B6-EF40-4081-83FD-6ACFC8C7E1EA}" srcOrd="0" destOrd="0" parTransId="{05583DB6-D833-46CE-BE2F-28CB8E26C734}" sibTransId="{C09A9A52-AAEA-48D0-A18A-F55BA0C40C11}"/>
    <dgm:cxn modelId="{BF9723D7-E0A8-491C-A584-98FA76A29B5B}" srcId="{C21FD847-0129-4D6D-BA57-7BAD52678054}" destId="{E49D269C-6F1F-4E43-B299-0E0A7CA3D9CE}" srcOrd="0" destOrd="0" parTransId="{68D81E0A-C6EF-41A6-B1D1-E343450AC030}" sibTransId="{65A5D022-16D3-4DC1-B576-A85C5624F8DA}"/>
    <dgm:cxn modelId="{D4755CD8-AB73-4799-996B-68E0A601D0C6}" type="presOf" srcId="{64C44979-0587-402B-9E86-A8E7874910EF}" destId="{9753183C-7E93-41A7-98AC-EE4D9EE86910}" srcOrd="0" destOrd="0" presId="urn:microsoft.com/office/officeart/2005/8/layout/lProcess2"/>
    <dgm:cxn modelId="{ED6A3769-E055-4832-95EF-A0490ACE23E8}" srcId="{CC522D4C-5B32-4794-9FE8-2A666181D956}" destId="{6C4D79A6-2271-4B66-A652-9875D6D2038D}" srcOrd="0" destOrd="0" parTransId="{D925552B-C6EB-4978-B27C-D1A0BF257571}" sibTransId="{9F4DC0A1-E951-4EB4-9B24-45E5D2876482}"/>
    <dgm:cxn modelId="{D6CE3D34-7D5F-43FF-895F-415253320354}" type="presOf" srcId="{6C4D79A6-2271-4B66-A652-9875D6D2038D}" destId="{DD3BD930-5255-4FEE-AE40-D32D05AE5EB2}" srcOrd="0" destOrd="0" presId="urn:microsoft.com/office/officeart/2005/8/layout/lProcess2"/>
    <dgm:cxn modelId="{161B3DFF-E744-48A7-87B0-E5693EF0769E}" type="presOf" srcId="{A7CAF89D-F3A2-49C4-A329-37261D293561}" destId="{51C4A2DA-F94C-4A0A-80C2-C8EC738BF09F}" srcOrd="0" destOrd="0" presId="urn:microsoft.com/office/officeart/2005/8/layout/lProcess2"/>
    <dgm:cxn modelId="{76E65C86-5AF2-4DCB-93A3-333C87DDDEA8}" type="presOf" srcId="{EA81D16A-05AE-4AA7-BDA8-E549224D15DD}" destId="{5A851137-C1A9-4D5A-B55A-0EFB22471695}" srcOrd="0" destOrd="0" presId="urn:microsoft.com/office/officeart/2005/8/layout/lProcess2"/>
    <dgm:cxn modelId="{C6F227C4-7D90-4ED4-8D1A-9722AC3D9B16}" type="presOf" srcId="{0BE612B6-EF40-4081-83FD-6ACFC8C7E1EA}" destId="{E89B695C-DD7D-44B3-9950-00C62E72C6D7}" srcOrd="0" destOrd="0" presId="urn:microsoft.com/office/officeart/2005/8/layout/lProcess2"/>
    <dgm:cxn modelId="{F02543C4-FCF0-47C0-9E99-C578E7A24DB4}" srcId="{A804F316-55F4-45DD-8ABB-E76FCC286F13}" destId="{730C74E3-1F95-4668-8929-0F0CB3E45531}" srcOrd="5" destOrd="0" parTransId="{356B2E74-31C8-4559-AF04-5F522B0067F4}" sibTransId="{10EBDE64-1E28-4BBE-A1DA-B0367E82CD53}"/>
    <dgm:cxn modelId="{0D7B5CEC-682D-41FA-948D-A85227A3AAFC}" type="presOf" srcId="{C21FD847-0129-4D6D-BA57-7BAD52678054}" destId="{A6FD0123-D798-462B-B446-E8AC16F2995D}" srcOrd="1" destOrd="0" presId="urn:microsoft.com/office/officeart/2005/8/layout/lProcess2"/>
    <dgm:cxn modelId="{AB93B42B-8361-4365-9F11-B5D7350000C4}" srcId="{A804F316-55F4-45DD-8ABB-E76FCC286F13}" destId="{0ECC8CDE-8A2D-49C2-8A84-ADC862D4C6F8}" srcOrd="2" destOrd="0" parTransId="{F53F0587-2F1A-4790-B102-48ECD42EA94D}" sibTransId="{6991FB7D-542B-4664-A609-7CDEB1DADCC6}"/>
    <dgm:cxn modelId="{004D717D-46B9-4C81-9A80-8DFD1CEAB4DF}" type="presOf" srcId="{44C38928-15A1-4D85-8EB5-56723DC58DA0}" destId="{E95B40FB-5CA8-48BF-A5C5-3D1E326C6E19}" srcOrd="0" destOrd="0" presId="urn:microsoft.com/office/officeart/2005/8/layout/lProcess2"/>
    <dgm:cxn modelId="{125BDC95-1016-4435-AAD7-DED43649825C}" type="presOf" srcId="{730C74E3-1F95-4668-8929-0F0CB3E45531}" destId="{6A1BE4A9-76F7-4533-A634-9CC20B8BBB00}" srcOrd="0" destOrd="0" presId="urn:microsoft.com/office/officeart/2005/8/layout/lProcess2"/>
    <dgm:cxn modelId="{0FA77AD0-4B8F-4425-A239-2FBBE423FCB3}" type="presOf" srcId="{867CA1F8-0F42-41C7-A08E-183EA82CD58A}" destId="{CAFA3952-9DD0-48F5-9C9A-916A9746633B}" srcOrd="0" destOrd="0" presId="urn:microsoft.com/office/officeart/2005/8/layout/lProcess2"/>
    <dgm:cxn modelId="{3C4738CC-E1F7-404D-A97F-80F3C5268DDA}" type="presOf" srcId="{8A1C6BBE-2289-4232-8546-BA4790EC9E3F}" destId="{8220B28B-E415-40BA-A402-C97B1D33F56E}" srcOrd="0" destOrd="0" presId="urn:microsoft.com/office/officeart/2005/8/layout/lProcess2"/>
    <dgm:cxn modelId="{DE2FD91E-9F87-41C4-8241-CA870260E41C}" srcId="{A7CAF89D-F3A2-49C4-A329-37261D293561}" destId="{CC522D4C-5B32-4794-9FE8-2A666181D956}" srcOrd="0" destOrd="0" parTransId="{C139AB97-92A9-4261-AF64-136F64B6C011}" sibTransId="{DFAB12B8-9806-4474-BB7F-2FF431919433}"/>
    <dgm:cxn modelId="{0E5C7CBC-F48B-43F9-8511-94AFF950FB8A}" srcId="{A804F316-55F4-45DD-8ABB-E76FCC286F13}" destId="{8A1C6BBE-2289-4232-8546-BA4790EC9E3F}" srcOrd="1" destOrd="0" parTransId="{89FE79A0-2B15-4C8F-A5A3-744BA006E3B3}" sibTransId="{06749C85-5789-4FBA-993F-7A66C820A0EC}"/>
    <dgm:cxn modelId="{22DE73D8-9CAF-4D68-9EC9-E1E4AAB2618F}" srcId="{A804F316-55F4-45DD-8ABB-E76FCC286F13}" destId="{44C38928-15A1-4D85-8EB5-56723DC58DA0}" srcOrd="0" destOrd="0" parTransId="{80C297BD-D4D9-4E8E-A684-BA1AC8310F6C}" sibTransId="{0327E5E5-BD3C-441E-976F-8CCC635E4E34}"/>
    <dgm:cxn modelId="{9193557F-62A1-4C33-B748-92F0AD42D65A}" srcId="{A7CAF89D-F3A2-49C4-A329-37261D293561}" destId="{A804F316-55F4-45DD-8ABB-E76FCC286F13}" srcOrd="1" destOrd="0" parTransId="{1D73DE77-618A-4CB8-95CE-AFD9925F6E93}" sibTransId="{99D7CBBD-0AEC-4491-AA73-807C04D20C2E}"/>
    <dgm:cxn modelId="{8ACF0BA5-846F-4D66-9223-BA3DC61596DC}" type="presOf" srcId="{0ECC8CDE-8A2D-49C2-8A84-ADC862D4C6F8}" destId="{EECE0709-95F1-430D-A181-A545A6DEE441}" srcOrd="0" destOrd="0" presId="urn:microsoft.com/office/officeart/2005/8/layout/lProcess2"/>
    <dgm:cxn modelId="{EA8A24A0-886F-4ED6-91C9-B09550638AF2}" srcId="{A7CAF89D-F3A2-49C4-A329-37261D293561}" destId="{49420DE4-94C0-4C13-863D-58B23FFAEB1B}" srcOrd="3" destOrd="0" parTransId="{A9D5BC84-4C3B-4D31-A542-F5C8840237B3}" sibTransId="{FFCAD8DF-BB23-4506-9ACA-C37B79C381A8}"/>
    <dgm:cxn modelId="{36F2BD98-01B8-462E-B60C-7B74519FEB6A}" type="presOf" srcId="{CC522D4C-5B32-4794-9FE8-2A666181D956}" destId="{3531149A-1EB1-4AE2-802D-C258AC60D32B}" srcOrd="1" destOrd="0" presId="urn:microsoft.com/office/officeart/2005/8/layout/lProcess2"/>
    <dgm:cxn modelId="{AB75F12A-63A8-4C87-BFB5-AC87891327D8}" type="presOf" srcId="{49420DE4-94C0-4C13-863D-58B23FFAEB1B}" destId="{385E113D-74E7-40A6-B71D-815A6C8CD533}" srcOrd="0" destOrd="0" presId="urn:microsoft.com/office/officeart/2005/8/layout/lProcess2"/>
    <dgm:cxn modelId="{A98B46A4-34F5-42A0-AAE7-33940265A4E7}" type="presOf" srcId="{B1A60CC6-33C0-435D-AA75-A83FBFADDB5C}" destId="{2348B09A-50DB-49F2-9050-D4BDBBA7E2E0}" srcOrd="0" destOrd="0" presId="urn:microsoft.com/office/officeart/2005/8/layout/lProcess2"/>
    <dgm:cxn modelId="{D7721CB4-D3A0-4039-9A64-2E2DDEB7C74F}" srcId="{A804F316-55F4-45DD-8ABB-E76FCC286F13}" destId="{B1A60CC6-33C0-435D-AA75-A83FBFADDB5C}" srcOrd="3" destOrd="0" parTransId="{8C83A541-61CC-4087-B0BE-F349494F345F}" sibTransId="{EBC7ADE4-04B6-4DCD-B7BC-BD9889AF79F7}"/>
    <dgm:cxn modelId="{72FE3A9A-AD6B-4863-9476-9508CF33B12D}" srcId="{CC522D4C-5B32-4794-9FE8-2A666181D956}" destId="{7A42F3D3-89B4-4D45-A39F-439CDF826D7C}" srcOrd="3" destOrd="0" parTransId="{16695A34-ABC0-47A6-9D13-1407148269E1}" sibTransId="{D40FAA5B-A665-4922-9B6B-621E11E07B6C}"/>
    <dgm:cxn modelId="{F27974FE-AF33-4425-BE4C-51FFEBE3F0F7}" srcId="{CC522D4C-5B32-4794-9FE8-2A666181D956}" destId="{867CA1F8-0F42-41C7-A08E-183EA82CD58A}" srcOrd="1" destOrd="0" parTransId="{4230B4FB-4E5D-4EF4-A813-6CDC092B1DAA}" sibTransId="{74FA57D0-B0E5-4C6F-893C-D94F8B545BD8}"/>
    <dgm:cxn modelId="{F14AD00B-D9F9-4A35-911D-3754507BB2AB}" srcId="{CC522D4C-5B32-4794-9FE8-2A666181D956}" destId="{C45ECE82-4FF8-417A-AF1D-5E655B3434D0}" srcOrd="2" destOrd="0" parTransId="{1852FB3D-D8EE-4D21-95C1-EBF74D87CC11}" sibTransId="{FBC27DBA-C541-4EF5-869E-0872CF889D11}"/>
    <dgm:cxn modelId="{B455F80C-FAA3-49EF-A0D0-CF1B030215EC}" type="presOf" srcId="{49420DE4-94C0-4C13-863D-58B23FFAEB1B}" destId="{9EC1931A-DB43-40EA-BE7F-0074FBDFC78F}" srcOrd="1" destOrd="0" presId="urn:microsoft.com/office/officeart/2005/8/layout/lProcess2"/>
    <dgm:cxn modelId="{795160BE-5381-4E81-9902-5DD11C979561}" type="presOf" srcId="{E49D269C-6F1F-4E43-B299-0E0A7CA3D9CE}" destId="{99444B2E-7BCA-4183-8BC3-3C8333BEF1CA}" srcOrd="0" destOrd="0" presId="urn:microsoft.com/office/officeart/2005/8/layout/lProcess2"/>
    <dgm:cxn modelId="{2F12C9E2-ED2F-4667-8FEF-28E89B9D178C}" type="presOf" srcId="{C21FD847-0129-4D6D-BA57-7BAD52678054}" destId="{46B48E48-1DC2-4414-B621-BD7952C5DFF1}" srcOrd="0" destOrd="0" presId="urn:microsoft.com/office/officeart/2005/8/layout/lProcess2"/>
    <dgm:cxn modelId="{4A710CFB-C116-4823-BD4A-E337476705D1}" type="presOf" srcId="{CC522D4C-5B32-4794-9FE8-2A666181D956}" destId="{5480C364-A462-4003-BB40-9916F747E303}" srcOrd="0" destOrd="0" presId="urn:microsoft.com/office/officeart/2005/8/layout/lProcess2"/>
    <dgm:cxn modelId="{E8E2FF3F-A7CB-4827-AE4C-6A746423CBA4}" srcId="{C21FD847-0129-4D6D-BA57-7BAD52678054}" destId="{64C44979-0587-402B-9E86-A8E7874910EF}" srcOrd="1" destOrd="0" parTransId="{134F1ADA-899B-43F9-BF86-AAA64166A5F7}" sibTransId="{5CD1262D-7CE9-4FD9-B27F-8A26600B4E28}"/>
    <dgm:cxn modelId="{D934193C-C32E-4B74-AEBD-EE270A3CC4B1}" type="presOf" srcId="{A804F316-55F4-45DD-8ABB-E76FCC286F13}" destId="{0B238ADB-536F-4D90-AFD9-EA7FBC03BA3C}" srcOrd="0" destOrd="0" presId="urn:microsoft.com/office/officeart/2005/8/layout/lProcess2"/>
    <dgm:cxn modelId="{C28294FB-F484-4BE0-8DD5-A72C62F9E0B7}" srcId="{A804F316-55F4-45DD-8ABB-E76FCC286F13}" destId="{EA81D16A-05AE-4AA7-BDA8-E549224D15DD}" srcOrd="4" destOrd="0" parTransId="{293370C9-2ED2-449E-B7A8-C7CBB87504F7}" sibTransId="{98571BEA-367C-48BB-8941-26DCF1A1D64B}"/>
    <dgm:cxn modelId="{D57420C3-50DE-47BF-AC3A-80E0DB1552FA}" type="presOf" srcId="{7A42F3D3-89B4-4D45-A39F-439CDF826D7C}" destId="{8FA29A64-D5D7-4138-82EF-09A0C0DBDBDD}" srcOrd="0" destOrd="0" presId="urn:microsoft.com/office/officeart/2005/8/layout/lProcess2"/>
    <dgm:cxn modelId="{4389C70D-1156-4646-9422-930317CDCA38}" srcId="{A7CAF89D-F3A2-49C4-A329-37261D293561}" destId="{C21FD847-0129-4D6D-BA57-7BAD52678054}" srcOrd="2" destOrd="0" parTransId="{57B24841-F742-4857-9102-6BE90EC0CB14}" sibTransId="{13AA6C12-13EA-4D86-9175-DE2AF1FB63AB}"/>
    <dgm:cxn modelId="{D83520C6-AFAA-456E-AB1E-03047C3743DC}" type="presOf" srcId="{C45ECE82-4FF8-417A-AF1D-5E655B3434D0}" destId="{BA8A21B9-61FB-4AF6-8C6F-423198768018}" srcOrd="0" destOrd="0" presId="urn:microsoft.com/office/officeart/2005/8/layout/lProcess2"/>
    <dgm:cxn modelId="{4860E8FF-ED6A-4BC3-A60F-A209BFDED9DC}" type="presOf" srcId="{A804F316-55F4-45DD-8ABB-E76FCC286F13}" destId="{A3FB03F4-6F67-4ED4-A5C2-A2BA15787E49}" srcOrd="1" destOrd="0" presId="urn:microsoft.com/office/officeart/2005/8/layout/lProcess2"/>
    <dgm:cxn modelId="{E88AB768-4F17-4C21-B5DF-E52E30EE66D8}" type="presParOf" srcId="{51C4A2DA-F94C-4A0A-80C2-C8EC738BF09F}" destId="{8DF35F57-85AC-4A59-BDD4-C4D12E7B9E39}" srcOrd="0" destOrd="0" presId="urn:microsoft.com/office/officeart/2005/8/layout/lProcess2"/>
    <dgm:cxn modelId="{7F5DB04D-C556-4262-AC5F-3BF59E7D28A4}" type="presParOf" srcId="{8DF35F57-85AC-4A59-BDD4-C4D12E7B9E39}" destId="{5480C364-A462-4003-BB40-9916F747E303}" srcOrd="0" destOrd="0" presId="urn:microsoft.com/office/officeart/2005/8/layout/lProcess2"/>
    <dgm:cxn modelId="{294FB3D1-6759-4651-82B2-31AB8A9D76FC}" type="presParOf" srcId="{8DF35F57-85AC-4A59-BDD4-C4D12E7B9E39}" destId="{3531149A-1EB1-4AE2-802D-C258AC60D32B}" srcOrd="1" destOrd="0" presId="urn:microsoft.com/office/officeart/2005/8/layout/lProcess2"/>
    <dgm:cxn modelId="{66DFC226-4286-4FC3-9516-2356B036CF45}" type="presParOf" srcId="{8DF35F57-85AC-4A59-BDD4-C4D12E7B9E39}" destId="{F4F7FB7B-8F74-44A2-97C6-55859CB59957}" srcOrd="2" destOrd="0" presId="urn:microsoft.com/office/officeart/2005/8/layout/lProcess2"/>
    <dgm:cxn modelId="{2D149BC1-FF4D-42F2-B990-5AC278069ECC}" type="presParOf" srcId="{F4F7FB7B-8F74-44A2-97C6-55859CB59957}" destId="{1E23B08D-DDBA-4086-B020-C19695D02B1A}" srcOrd="0" destOrd="0" presId="urn:microsoft.com/office/officeart/2005/8/layout/lProcess2"/>
    <dgm:cxn modelId="{C8C4F139-4902-4CA2-86FE-4C7B4F1B259E}" type="presParOf" srcId="{1E23B08D-DDBA-4086-B020-C19695D02B1A}" destId="{DD3BD930-5255-4FEE-AE40-D32D05AE5EB2}" srcOrd="0" destOrd="0" presId="urn:microsoft.com/office/officeart/2005/8/layout/lProcess2"/>
    <dgm:cxn modelId="{B04B5E61-5A50-4204-AA83-4EDAD09BC3B3}" type="presParOf" srcId="{1E23B08D-DDBA-4086-B020-C19695D02B1A}" destId="{8113DD65-5270-4066-94A2-F2718721EB44}" srcOrd="1" destOrd="0" presId="urn:microsoft.com/office/officeart/2005/8/layout/lProcess2"/>
    <dgm:cxn modelId="{BC8D73A7-8A45-4813-AABD-971C13C54A90}" type="presParOf" srcId="{1E23B08D-DDBA-4086-B020-C19695D02B1A}" destId="{CAFA3952-9DD0-48F5-9C9A-916A9746633B}" srcOrd="2" destOrd="0" presId="urn:microsoft.com/office/officeart/2005/8/layout/lProcess2"/>
    <dgm:cxn modelId="{9FABAF3E-CEF2-44AD-ABCA-2A9449013C99}" type="presParOf" srcId="{1E23B08D-DDBA-4086-B020-C19695D02B1A}" destId="{514D2451-BF36-4522-8D9F-F24C27D450ED}" srcOrd="3" destOrd="0" presId="urn:microsoft.com/office/officeart/2005/8/layout/lProcess2"/>
    <dgm:cxn modelId="{3B19A865-CE24-4D8B-862E-AA9C43EE139F}" type="presParOf" srcId="{1E23B08D-DDBA-4086-B020-C19695D02B1A}" destId="{BA8A21B9-61FB-4AF6-8C6F-423198768018}" srcOrd="4" destOrd="0" presId="urn:microsoft.com/office/officeart/2005/8/layout/lProcess2"/>
    <dgm:cxn modelId="{6B651591-BEEC-4EA7-B79F-64393FD59516}" type="presParOf" srcId="{1E23B08D-DDBA-4086-B020-C19695D02B1A}" destId="{ECF66763-79FB-4D1F-97BC-09D57D4AE9A7}" srcOrd="5" destOrd="0" presId="urn:microsoft.com/office/officeart/2005/8/layout/lProcess2"/>
    <dgm:cxn modelId="{89E3F26C-44C3-4900-B4EB-66821DEEEBEC}" type="presParOf" srcId="{1E23B08D-DDBA-4086-B020-C19695D02B1A}" destId="{8FA29A64-D5D7-4138-82EF-09A0C0DBDBDD}" srcOrd="6" destOrd="0" presId="urn:microsoft.com/office/officeart/2005/8/layout/lProcess2"/>
    <dgm:cxn modelId="{FDFFCBF8-51D1-4EBD-890A-573F2601F375}" type="presParOf" srcId="{51C4A2DA-F94C-4A0A-80C2-C8EC738BF09F}" destId="{A4F1EFD8-3C3A-462C-88C4-A5B32038C535}" srcOrd="1" destOrd="0" presId="urn:microsoft.com/office/officeart/2005/8/layout/lProcess2"/>
    <dgm:cxn modelId="{E2A76A3F-27CF-4BD0-8776-0D0960CD806C}" type="presParOf" srcId="{51C4A2DA-F94C-4A0A-80C2-C8EC738BF09F}" destId="{125ED456-480D-4EBF-855A-E93A0FB4CD32}" srcOrd="2" destOrd="0" presId="urn:microsoft.com/office/officeart/2005/8/layout/lProcess2"/>
    <dgm:cxn modelId="{D4DDC01E-12C4-414D-95F3-A0B1034F1833}" type="presParOf" srcId="{125ED456-480D-4EBF-855A-E93A0FB4CD32}" destId="{0B238ADB-536F-4D90-AFD9-EA7FBC03BA3C}" srcOrd="0" destOrd="0" presId="urn:microsoft.com/office/officeart/2005/8/layout/lProcess2"/>
    <dgm:cxn modelId="{B1767AF4-BFFC-4197-9DB1-4497F87FD190}" type="presParOf" srcId="{125ED456-480D-4EBF-855A-E93A0FB4CD32}" destId="{A3FB03F4-6F67-4ED4-A5C2-A2BA15787E49}" srcOrd="1" destOrd="0" presId="urn:microsoft.com/office/officeart/2005/8/layout/lProcess2"/>
    <dgm:cxn modelId="{A63A35D0-9A89-4286-A986-8DA7618F9701}" type="presParOf" srcId="{125ED456-480D-4EBF-855A-E93A0FB4CD32}" destId="{4DA1058E-50D7-496F-B3D5-D819648B141B}" srcOrd="2" destOrd="0" presId="urn:microsoft.com/office/officeart/2005/8/layout/lProcess2"/>
    <dgm:cxn modelId="{7DEC6401-02FC-4A35-BD37-F92A23BCAB90}" type="presParOf" srcId="{4DA1058E-50D7-496F-B3D5-D819648B141B}" destId="{0CECB529-D637-4972-A2AB-6F411ED40D96}" srcOrd="0" destOrd="0" presId="urn:microsoft.com/office/officeart/2005/8/layout/lProcess2"/>
    <dgm:cxn modelId="{A3A2903D-98D1-4E8F-9A99-08CA767258CE}" type="presParOf" srcId="{0CECB529-D637-4972-A2AB-6F411ED40D96}" destId="{E95B40FB-5CA8-48BF-A5C5-3D1E326C6E19}" srcOrd="0" destOrd="0" presId="urn:microsoft.com/office/officeart/2005/8/layout/lProcess2"/>
    <dgm:cxn modelId="{131411AE-884A-4A9E-8341-8AADBAB4B66B}" type="presParOf" srcId="{0CECB529-D637-4972-A2AB-6F411ED40D96}" destId="{E3C210C5-9EB3-4736-AD26-7647B1392C1F}" srcOrd="1" destOrd="0" presId="urn:microsoft.com/office/officeart/2005/8/layout/lProcess2"/>
    <dgm:cxn modelId="{E594E114-DF42-4636-B907-A583147434AA}" type="presParOf" srcId="{0CECB529-D637-4972-A2AB-6F411ED40D96}" destId="{8220B28B-E415-40BA-A402-C97B1D33F56E}" srcOrd="2" destOrd="0" presId="urn:microsoft.com/office/officeart/2005/8/layout/lProcess2"/>
    <dgm:cxn modelId="{EC68221B-EECA-4225-BC4B-6818C8364430}" type="presParOf" srcId="{0CECB529-D637-4972-A2AB-6F411ED40D96}" destId="{B55DE289-8CC3-485E-AFA6-8A9CB2DEAAC5}" srcOrd="3" destOrd="0" presId="urn:microsoft.com/office/officeart/2005/8/layout/lProcess2"/>
    <dgm:cxn modelId="{AD2D8366-56D9-4832-95B4-05791DC5CDDE}" type="presParOf" srcId="{0CECB529-D637-4972-A2AB-6F411ED40D96}" destId="{EECE0709-95F1-430D-A181-A545A6DEE441}" srcOrd="4" destOrd="0" presId="urn:microsoft.com/office/officeart/2005/8/layout/lProcess2"/>
    <dgm:cxn modelId="{D8E5EA64-BEC3-48C1-9ECD-442C5F8B7E2C}" type="presParOf" srcId="{0CECB529-D637-4972-A2AB-6F411ED40D96}" destId="{632558EE-06A0-499A-B725-0D9B8815708D}" srcOrd="5" destOrd="0" presId="urn:microsoft.com/office/officeart/2005/8/layout/lProcess2"/>
    <dgm:cxn modelId="{D133B62F-AA75-4EA5-9367-39C96EBD76AB}" type="presParOf" srcId="{0CECB529-D637-4972-A2AB-6F411ED40D96}" destId="{2348B09A-50DB-49F2-9050-D4BDBBA7E2E0}" srcOrd="6" destOrd="0" presId="urn:microsoft.com/office/officeart/2005/8/layout/lProcess2"/>
    <dgm:cxn modelId="{C56B5AC6-031E-487A-8202-E39EFCC69671}" type="presParOf" srcId="{0CECB529-D637-4972-A2AB-6F411ED40D96}" destId="{41B8BDE3-FE78-49AD-826A-7F5AAD62EFBF}" srcOrd="7" destOrd="0" presId="urn:microsoft.com/office/officeart/2005/8/layout/lProcess2"/>
    <dgm:cxn modelId="{AD82D96D-2AB0-4491-84AF-83D123D11E9A}" type="presParOf" srcId="{0CECB529-D637-4972-A2AB-6F411ED40D96}" destId="{5A851137-C1A9-4D5A-B55A-0EFB22471695}" srcOrd="8" destOrd="0" presId="urn:microsoft.com/office/officeart/2005/8/layout/lProcess2"/>
    <dgm:cxn modelId="{7B653EBD-AFE9-4E48-9376-18FB9B7867B4}" type="presParOf" srcId="{0CECB529-D637-4972-A2AB-6F411ED40D96}" destId="{2DD1E5E7-AABF-423E-BC37-0034402A2257}" srcOrd="9" destOrd="0" presId="urn:microsoft.com/office/officeart/2005/8/layout/lProcess2"/>
    <dgm:cxn modelId="{52EA6454-9F40-4EDC-B804-52014D80E18A}" type="presParOf" srcId="{0CECB529-D637-4972-A2AB-6F411ED40D96}" destId="{6A1BE4A9-76F7-4533-A634-9CC20B8BBB00}" srcOrd="10" destOrd="0" presId="urn:microsoft.com/office/officeart/2005/8/layout/lProcess2"/>
    <dgm:cxn modelId="{AB6E7471-2CFA-4D12-93F0-91D7C0A52146}" type="presParOf" srcId="{51C4A2DA-F94C-4A0A-80C2-C8EC738BF09F}" destId="{C9707BDF-FC84-4200-8605-034DCD77C546}" srcOrd="3" destOrd="0" presId="urn:microsoft.com/office/officeart/2005/8/layout/lProcess2"/>
    <dgm:cxn modelId="{94959142-C6A8-49A4-ADDF-917066C8A16A}" type="presParOf" srcId="{51C4A2DA-F94C-4A0A-80C2-C8EC738BF09F}" destId="{15416D6C-828F-4430-80E5-253157DBAE68}" srcOrd="4" destOrd="0" presId="urn:microsoft.com/office/officeart/2005/8/layout/lProcess2"/>
    <dgm:cxn modelId="{C42FFC2F-9B57-4FE5-9D73-30F1C6FE12FE}" type="presParOf" srcId="{15416D6C-828F-4430-80E5-253157DBAE68}" destId="{46B48E48-1DC2-4414-B621-BD7952C5DFF1}" srcOrd="0" destOrd="0" presId="urn:microsoft.com/office/officeart/2005/8/layout/lProcess2"/>
    <dgm:cxn modelId="{0E7D4D5F-9E34-4FED-A595-88F05D99DD3E}" type="presParOf" srcId="{15416D6C-828F-4430-80E5-253157DBAE68}" destId="{A6FD0123-D798-462B-B446-E8AC16F2995D}" srcOrd="1" destOrd="0" presId="urn:microsoft.com/office/officeart/2005/8/layout/lProcess2"/>
    <dgm:cxn modelId="{3C050F70-1A0E-4D9B-B10C-0A64CEF72F17}" type="presParOf" srcId="{15416D6C-828F-4430-80E5-253157DBAE68}" destId="{A4101307-521F-4A42-9C2E-C2AD0A279E3D}" srcOrd="2" destOrd="0" presId="urn:microsoft.com/office/officeart/2005/8/layout/lProcess2"/>
    <dgm:cxn modelId="{049D95BE-C8EE-4C67-B4A0-EFE4EDB7C7EE}" type="presParOf" srcId="{A4101307-521F-4A42-9C2E-C2AD0A279E3D}" destId="{9C43ACF9-0F8C-4CE8-BE7F-A6B0311A1B8B}" srcOrd="0" destOrd="0" presId="urn:microsoft.com/office/officeart/2005/8/layout/lProcess2"/>
    <dgm:cxn modelId="{0D7FE406-A4BB-446C-8E01-4F4DC492660A}" type="presParOf" srcId="{9C43ACF9-0F8C-4CE8-BE7F-A6B0311A1B8B}" destId="{99444B2E-7BCA-4183-8BC3-3C8333BEF1CA}" srcOrd="0" destOrd="0" presId="urn:microsoft.com/office/officeart/2005/8/layout/lProcess2"/>
    <dgm:cxn modelId="{2A34592A-F921-469A-99BF-1DFD0F813949}" type="presParOf" srcId="{9C43ACF9-0F8C-4CE8-BE7F-A6B0311A1B8B}" destId="{7791A99F-8329-45D8-B27D-1E1C40085019}" srcOrd="1" destOrd="0" presId="urn:microsoft.com/office/officeart/2005/8/layout/lProcess2"/>
    <dgm:cxn modelId="{6B2A0BF0-1C0C-4CD9-AF2E-FA9C044AA00C}" type="presParOf" srcId="{9C43ACF9-0F8C-4CE8-BE7F-A6B0311A1B8B}" destId="{9753183C-7E93-41A7-98AC-EE4D9EE86910}" srcOrd="2" destOrd="0" presId="urn:microsoft.com/office/officeart/2005/8/layout/lProcess2"/>
    <dgm:cxn modelId="{C9F71D4F-DE40-4861-922D-651B0AFCC237}" type="presParOf" srcId="{51C4A2DA-F94C-4A0A-80C2-C8EC738BF09F}" destId="{2B550AF5-ACF5-4BFC-949C-8B3492198091}" srcOrd="5" destOrd="0" presId="urn:microsoft.com/office/officeart/2005/8/layout/lProcess2"/>
    <dgm:cxn modelId="{907A0896-7CF2-415C-AF97-569076BDA63D}" type="presParOf" srcId="{51C4A2DA-F94C-4A0A-80C2-C8EC738BF09F}" destId="{98791991-64F0-4923-AB45-691BC7B305AD}" srcOrd="6" destOrd="0" presId="urn:microsoft.com/office/officeart/2005/8/layout/lProcess2"/>
    <dgm:cxn modelId="{F71A498D-C29F-44D4-A2CB-C72A36413050}" type="presParOf" srcId="{98791991-64F0-4923-AB45-691BC7B305AD}" destId="{385E113D-74E7-40A6-B71D-815A6C8CD533}" srcOrd="0" destOrd="0" presId="urn:microsoft.com/office/officeart/2005/8/layout/lProcess2"/>
    <dgm:cxn modelId="{3EA69C8F-D183-4871-9DBF-050E1D32E79E}" type="presParOf" srcId="{98791991-64F0-4923-AB45-691BC7B305AD}" destId="{9EC1931A-DB43-40EA-BE7F-0074FBDFC78F}" srcOrd="1" destOrd="0" presId="urn:microsoft.com/office/officeart/2005/8/layout/lProcess2"/>
    <dgm:cxn modelId="{A1B18F66-B68C-4965-8802-108E74770F2D}" type="presParOf" srcId="{98791991-64F0-4923-AB45-691BC7B305AD}" destId="{BDE0BD46-1819-4A2F-AC44-87F9710AAB22}" srcOrd="2" destOrd="0" presId="urn:microsoft.com/office/officeart/2005/8/layout/lProcess2"/>
    <dgm:cxn modelId="{21711336-6589-41CF-84EC-0FA04372D7D3}" type="presParOf" srcId="{BDE0BD46-1819-4A2F-AC44-87F9710AAB22}" destId="{D6537FC7-DAF8-4DBF-828A-CB8D95C9DEF1}" srcOrd="0" destOrd="0" presId="urn:microsoft.com/office/officeart/2005/8/layout/lProcess2"/>
    <dgm:cxn modelId="{EEE63183-2A0E-4308-9943-C785D9063CDE}" type="presParOf" srcId="{D6537FC7-DAF8-4DBF-828A-CB8D95C9DEF1}" destId="{E89B695C-DD7D-44B3-9950-00C62E72C6D7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80C364-A462-4003-BB40-9916F747E303}">
      <dsp:nvSpPr>
        <dsp:cNvPr id="0" name=""/>
        <dsp:cNvSpPr/>
      </dsp:nvSpPr>
      <dsp:spPr>
        <a:xfrm>
          <a:off x="1132" y="0"/>
          <a:ext cx="1771509" cy="40640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Auto osiguranje</a:t>
          </a:r>
          <a:endParaRPr lang="hr-HR" sz="1800" kern="1200" dirty="0"/>
        </a:p>
      </dsp:txBody>
      <dsp:txXfrm>
        <a:off x="1132" y="0"/>
        <a:ext cx="1771509" cy="1219200"/>
      </dsp:txXfrm>
    </dsp:sp>
    <dsp:sp modelId="{DD3BD930-5255-4FEE-AE40-D32D05AE5EB2}">
      <dsp:nvSpPr>
        <dsp:cNvPr id="0" name=""/>
        <dsp:cNvSpPr/>
      </dsp:nvSpPr>
      <dsp:spPr>
        <a:xfrm>
          <a:off x="178956" y="1219944"/>
          <a:ext cx="1417207" cy="2908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Obvezno AO</a:t>
          </a:r>
        </a:p>
      </dsp:txBody>
      <dsp:txXfrm>
        <a:off x="187475" y="1228463"/>
        <a:ext cx="1400169" cy="273821"/>
      </dsp:txXfrm>
    </dsp:sp>
    <dsp:sp modelId="{BFB68BD0-5211-4BA3-AD55-6359414A33F8}">
      <dsp:nvSpPr>
        <dsp:cNvPr id="0" name=""/>
        <dsp:cNvSpPr/>
      </dsp:nvSpPr>
      <dsp:spPr>
        <a:xfrm>
          <a:off x="178956" y="1555551"/>
          <a:ext cx="1417207" cy="2908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Auto Bonus Protektor</a:t>
          </a:r>
        </a:p>
      </dsp:txBody>
      <dsp:txXfrm>
        <a:off x="187475" y="1564070"/>
        <a:ext cx="1400169" cy="273821"/>
      </dsp:txXfrm>
    </dsp:sp>
    <dsp:sp modelId="{66929553-A49B-4D59-944F-88C7D4F6C878}">
      <dsp:nvSpPr>
        <dsp:cNvPr id="0" name=""/>
        <dsp:cNvSpPr/>
      </dsp:nvSpPr>
      <dsp:spPr>
        <a:xfrm>
          <a:off x="178956" y="1891158"/>
          <a:ext cx="1417207" cy="2908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Paketi Care i Protekt</a:t>
          </a:r>
        </a:p>
      </dsp:txBody>
      <dsp:txXfrm>
        <a:off x="187475" y="1899677"/>
        <a:ext cx="1400169" cy="273821"/>
      </dsp:txXfrm>
    </dsp:sp>
    <dsp:sp modelId="{0AEE71EE-9E53-4F5A-9F50-B59A247F7D05}">
      <dsp:nvSpPr>
        <dsp:cNvPr id="0" name=""/>
        <dsp:cNvSpPr/>
      </dsp:nvSpPr>
      <dsp:spPr>
        <a:xfrm>
          <a:off x="178956" y="2226766"/>
          <a:ext cx="1417207" cy="2908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AO plus</a:t>
          </a:r>
        </a:p>
      </dsp:txBody>
      <dsp:txXfrm>
        <a:off x="187475" y="2235285"/>
        <a:ext cx="1400169" cy="273821"/>
      </dsp:txXfrm>
    </dsp:sp>
    <dsp:sp modelId="{C4A00DC9-4522-44E5-8B75-BC23E9C9F114}">
      <dsp:nvSpPr>
        <dsp:cNvPr id="0" name=""/>
        <dsp:cNvSpPr/>
      </dsp:nvSpPr>
      <dsp:spPr>
        <a:xfrm>
          <a:off x="178956" y="2562373"/>
          <a:ext cx="1417207" cy="2908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Kasko</a:t>
          </a:r>
        </a:p>
      </dsp:txBody>
      <dsp:txXfrm>
        <a:off x="187475" y="2570892"/>
        <a:ext cx="1400169" cy="273821"/>
      </dsp:txXfrm>
    </dsp:sp>
    <dsp:sp modelId="{F4EBB973-CFBA-4119-A58D-1A1334296A98}">
      <dsp:nvSpPr>
        <dsp:cNvPr id="0" name=""/>
        <dsp:cNvSpPr/>
      </dsp:nvSpPr>
      <dsp:spPr>
        <a:xfrm>
          <a:off x="178956" y="2897981"/>
          <a:ext cx="1417207" cy="2908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Djelomični kasko</a:t>
          </a:r>
        </a:p>
      </dsp:txBody>
      <dsp:txXfrm>
        <a:off x="187475" y="2906500"/>
        <a:ext cx="1400169" cy="273821"/>
      </dsp:txXfrm>
    </dsp:sp>
    <dsp:sp modelId="{FD55B901-6FEC-468C-8610-30396810AB6A}">
      <dsp:nvSpPr>
        <dsp:cNvPr id="0" name=""/>
        <dsp:cNvSpPr/>
      </dsp:nvSpPr>
      <dsp:spPr>
        <a:xfrm>
          <a:off x="178956" y="3233588"/>
          <a:ext cx="1417207" cy="2908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Osiguranje od nezgode</a:t>
          </a:r>
        </a:p>
      </dsp:txBody>
      <dsp:txXfrm>
        <a:off x="187475" y="3242107"/>
        <a:ext cx="1400169" cy="273821"/>
      </dsp:txXfrm>
    </dsp:sp>
    <dsp:sp modelId="{2E72C1E4-F23E-4974-B98E-4E4CF9BF58E5}">
      <dsp:nvSpPr>
        <dsp:cNvPr id="0" name=""/>
        <dsp:cNvSpPr/>
      </dsp:nvSpPr>
      <dsp:spPr>
        <a:xfrm>
          <a:off x="178956" y="3569196"/>
          <a:ext cx="1417207" cy="29085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Autoasistencija</a:t>
          </a:r>
          <a:endParaRPr lang="hr-HR" sz="1000" kern="1200" dirty="0"/>
        </a:p>
      </dsp:txBody>
      <dsp:txXfrm>
        <a:off x="187475" y="3577715"/>
        <a:ext cx="1400169" cy="273821"/>
      </dsp:txXfrm>
    </dsp:sp>
    <dsp:sp modelId="{0B238ADB-536F-4D90-AFD9-EA7FBC03BA3C}">
      <dsp:nvSpPr>
        <dsp:cNvPr id="0" name=""/>
        <dsp:cNvSpPr/>
      </dsp:nvSpPr>
      <dsp:spPr>
        <a:xfrm>
          <a:off x="1906177" y="0"/>
          <a:ext cx="1771509" cy="40640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Život</a:t>
          </a:r>
          <a:endParaRPr lang="hr-HR" sz="1800" kern="1200" dirty="0"/>
        </a:p>
      </dsp:txBody>
      <dsp:txXfrm>
        <a:off x="1906177" y="0"/>
        <a:ext cx="1771509" cy="1219200"/>
      </dsp:txXfrm>
    </dsp:sp>
    <dsp:sp modelId="{E95B40FB-5CA8-48BF-A5C5-3D1E326C6E19}">
      <dsp:nvSpPr>
        <dsp:cNvPr id="0" name=""/>
        <dsp:cNvSpPr/>
      </dsp:nvSpPr>
      <dsp:spPr>
        <a:xfrm>
          <a:off x="2083328" y="1220241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Vita</a:t>
          </a:r>
          <a:endParaRPr lang="hr-HR" sz="1000" kern="1200" dirty="0"/>
        </a:p>
      </dsp:txBody>
      <dsp:txXfrm>
        <a:off x="2090119" y="1227032"/>
        <a:ext cx="1403625" cy="218267"/>
      </dsp:txXfrm>
    </dsp:sp>
    <dsp:sp modelId="{4778F682-68C2-4D3D-A225-150C8C441116}">
      <dsp:nvSpPr>
        <dsp:cNvPr id="0" name=""/>
        <dsp:cNvSpPr/>
      </dsp:nvSpPr>
      <dsp:spPr>
        <a:xfrm>
          <a:off x="2083328" y="1487760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Lavlje srce</a:t>
          </a:r>
          <a:endParaRPr lang="hr-HR" sz="1000" kern="1200" dirty="0"/>
        </a:p>
      </dsp:txBody>
      <dsp:txXfrm>
        <a:off x="2090119" y="1494551"/>
        <a:ext cx="1403625" cy="218267"/>
      </dsp:txXfrm>
    </dsp:sp>
    <dsp:sp modelId="{D0E0608C-E6EA-4F16-96CB-D1F66847E7D0}">
      <dsp:nvSpPr>
        <dsp:cNvPr id="0" name=""/>
        <dsp:cNvSpPr/>
      </dsp:nvSpPr>
      <dsp:spPr>
        <a:xfrm>
          <a:off x="2083328" y="1755278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Linija života</a:t>
          </a:r>
          <a:endParaRPr lang="hr-HR" sz="1000" kern="1200" dirty="0"/>
        </a:p>
      </dsp:txBody>
      <dsp:txXfrm>
        <a:off x="2090119" y="1762069"/>
        <a:ext cx="1403625" cy="218267"/>
      </dsp:txXfrm>
    </dsp:sp>
    <dsp:sp modelId="{0A6C2CE4-AF8A-4C7E-84BB-A283976338FF}">
      <dsp:nvSpPr>
        <dsp:cNvPr id="0" name=""/>
        <dsp:cNvSpPr/>
      </dsp:nvSpPr>
      <dsp:spPr>
        <a:xfrm>
          <a:off x="2083328" y="2022797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Kapital</a:t>
          </a:r>
          <a:endParaRPr lang="hr-HR" sz="1000" kern="1200" dirty="0"/>
        </a:p>
      </dsp:txBody>
      <dsp:txXfrm>
        <a:off x="2090119" y="2029588"/>
        <a:ext cx="1403625" cy="218267"/>
      </dsp:txXfrm>
    </dsp:sp>
    <dsp:sp modelId="{7EB5DBA8-075A-4339-BD32-FBB6B80ABDD3}">
      <dsp:nvSpPr>
        <dsp:cNvPr id="0" name=""/>
        <dsp:cNvSpPr/>
      </dsp:nvSpPr>
      <dsp:spPr>
        <a:xfrm>
          <a:off x="2083328" y="2290316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Vizija</a:t>
          </a:r>
          <a:endParaRPr lang="hr-HR" sz="1000" kern="1200" dirty="0"/>
        </a:p>
      </dsp:txBody>
      <dsp:txXfrm>
        <a:off x="2090119" y="2297107"/>
        <a:ext cx="1403625" cy="218267"/>
      </dsp:txXfrm>
    </dsp:sp>
    <dsp:sp modelId="{1A1B33FD-C03E-4C10-975D-C0D59D094A60}">
      <dsp:nvSpPr>
        <dsp:cNvPr id="0" name=""/>
        <dsp:cNvSpPr/>
      </dsp:nvSpPr>
      <dsp:spPr>
        <a:xfrm>
          <a:off x="2083328" y="2557834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GaranT Plus</a:t>
          </a:r>
          <a:endParaRPr lang="hr-HR" sz="1000" kern="1200" dirty="0"/>
        </a:p>
      </dsp:txBody>
      <dsp:txXfrm>
        <a:off x="2090119" y="2564625"/>
        <a:ext cx="1403625" cy="218267"/>
      </dsp:txXfrm>
    </dsp:sp>
    <dsp:sp modelId="{A510099C-FEB0-4F8B-AA4F-7231965E5F92}">
      <dsp:nvSpPr>
        <dsp:cNvPr id="0" name=""/>
        <dsp:cNvSpPr/>
      </dsp:nvSpPr>
      <dsp:spPr>
        <a:xfrm>
          <a:off x="2083328" y="2825353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Stratego</a:t>
          </a:r>
          <a:endParaRPr lang="hr-HR" sz="1000" kern="1200" dirty="0"/>
        </a:p>
      </dsp:txBody>
      <dsp:txXfrm>
        <a:off x="2090119" y="2832144"/>
        <a:ext cx="1403625" cy="218267"/>
      </dsp:txXfrm>
    </dsp:sp>
    <dsp:sp modelId="{A0DF3792-9DE6-41FE-9ABE-61530FFB5A89}">
      <dsp:nvSpPr>
        <dsp:cNvPr id="0" name=""/>
        <dsp:cNvSpPr/>
      </dsp:nvSpPr>
      <dsp:spPr>
        <a:xfrm>
          <a:off x="2083328" y="3092871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Ziherica</a:t>
          </a:r>
          <a:endParaRPr lang="hr-HR" sz="1000" kern="1200" dirty="0"/>
        </a:p>
      </dsp:txBody>
      <dsp:txXfrm>
        <a:off x="2090119" y="3099662"/>
        <a:ext cx="1403625" cy="218267"/>
      </dsp:txXfrm>
    </dsp:sp>
    <dsp:sp modelId="{C8914C32-57F5-4EEE-B408-F746DBAF5929}">
      <dsp:nvSpPr>
        <dsp:cNvPr id="0" name=""/>
        <dsp:cNvSpPr/>
      </dsp:nvSpPr>
      <dsp:spPr>
        <a:xfrm>
          <a:off x="2083328" y="3360390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Riziko</a:t>
          </a:r>
          <a:endParaRPr lang="hr-HR" sz="1000" kern="1200" dirty="0"/>
        </a:p>
      </dsp:txBody>
      <dsp:txXfrm>
        <a:off x="2090119" y="3367181"/>
        <a:ext cx="1403625" cy="218267"/>
      </dsp:txXfrm>
    </dsp:sp>
    <dsp:sp modelId="{5888E588-D8D1-4742-96DC-AAFC1B56F788}">
      <dsp:nvSpPr>
        <dsp:cNvPr id="0" name=""/>
        <dsp:cNvSpPr/>
      </dsp:nvSpPr>
      <dsp:spPr>
        <a:xfrm>
          <a:off x="2083328" y="3627908"/>
          <a:ext cx="1417207" cy="2318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Riznica</a:t>
          </a:r>
          <a:endParaRPr lang="hr-HR" sz="1000" kern="1200" dirty="0"/>
        </a:p>
      </dsp:txBody>
      <dsp:txXfrm>
        <a:off x="2090119" y="3634699"/>
        <a:ext cx="1403625" cy="218267"/>
      </dsp:txXfrm>
    </dsp:sp>
    <dsp:sp modelId="{46B48E48-1DC2-4414-B621-BD7952C5DFF1}">
      <dsp:nvSpPr>
        <dsp:cNvPr id="0" name=""/>
        <dsp:cNvSpPr/>
      </dsp:nvSpPr>
      <dsp:spPr>
        <a:xfrm>
          <a:off x="3810550" y="0"/>
          <a:ext cx="1771509" cy="40640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Nezgoda</a:t>
          </a:r>
          <a:endParaRPr lang="hr-HR" sz="1800" kern="1200" dirty="0"/>
        </a:p>
      </dsp:txBody>
      <dsp:txXfrm>
        <a:off x="3810550" y="0"/>
        <a:ext cx="1771509" cy="1219200"/>
      </dsp:txXfrm>
    </dsp:sp>
    <dsp:sp modelId="{99444B2E-7BCA-4183-8BC3-3C8333BEF1CA}">
      <dsp:nvSpPr>
        <dsp:cNvPr id="0" name=""/>
        <dsp:cNvSpPr/>
      </dsp:nvSpPr>
      <dsp:spPr>
        <a:xfrm>
          <a:off x="3987701" y="1219299"/>
          <a:ext cx="1417207" cy="5920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Osiguranje pojedinaca</a:t>
          </a:r>
          <a:endParaRPr lang="hr-HR" sz="1000" kern="1200" dirty="0"/>
        </a:p>
      </dsp:txBody>
      <dsp:txXfrm>
        <a:off x="4005041" y="1236639"/>
        <a:ext cx="1382527" cy="557358"/>
      </dsp:txXfrm>
    </dsp:sp>
    <dsp:sp modelId="{DD738920-A6AA-4020-AACA-FC8F25515D3D}">
      <dsp:nvSpPr>
        <dsp:cNvPr id="0" name=""/>
        <dsp:cNvSpPr/>
      </dsp:nvSpPr>
      <dsp:spPr>
        <a:xfrm>
          <a:off x="3987701" y="1902420"/>
          <a:ext cx="1417207" cy="5920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Obiteljsko osiguranje</a:t>
          </a:r>
          <a:endParaRPr lang="hr-HR" sz="1000" kern="1200" dirty="0"/>
        </a:p>
      </dsp:txBody>
      <dsp:txXfrm>
        <a:off x="4005041" y="1919760"/>
        <a:ext cx="1382527" cy="557358"/>
      </dsp:txXfrm>
    </dsp:sp>
    <dsp:sp modelId="{B5C998DD-554A-4D0D-8970-4A8D763A6B40}">
      <dsp:nvSpPr>
        <dsp:cNvPr id="0" name=""/>
        <dsp:cNvSpPr/>
      </dsp:nvSpPr>
      <dsp:spPr>
        <a:xfrm>
          <a:off x="3987701" y="2585541"/>
          <a:ext cx="1417207" cy="5920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Osiguranje sportaša</a:t>
          </a:r>
          <a:endParaRPr lang="hr-HR" sz="1000" kern="1200" dirty="0"/>
        </a:p>
      </dsp:txBody>
      <dsp:txXfrm>
        <a:off x="4005041" y="2602881"/>
        <a:ext cx="1382527" cy="557358"/>
      </dsp:txXfrm>
    </dsp:sp>
    <dsp:sp modelId="{4D4DE986-8F80-4353-B461-AF2DFF780FE1}">
      <dsp:nvSpPr>
        <dsp:cNvPr id="0" name=""/>
        <dsp:cNvSpPr/>
      </dsp:nvSpPr>
      <dsp:spPr>
        <a:xfrm>
          <a:off x="3987701" y="3268662"/>
          <a:ext cx="1417207" cy="5920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Paket 500 razloga</a:t>
          </a:r>
        </a:p>
      </dsp:txBody>
      <dsp:txXfrm>
        <a:off x="4005041" y="3286002"/>
        <a:ext cx="1382527" cy="557358"/>
      </dsp:txXfrm>
    </dsp:sp>
    <dsp:sp modelId="{385E113D-74E7-40A6-B71D-815A6C8CD533}">
      <dsp:nvSpPr>
        <dsp:cNvPr id="0" name=""/>
        <dsp:cNvSpPr/>
      </dsp:nvSpPr>
      <dsp:spPr>
        <a:xfrm>
          <a:off x="5714922" y="0"/>
          <a:ext cx="1771509" cy="40640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Imovina</a:t>
          </a:r>
          <a:endParaRPr lang="hr-HR" sz="1800" kern="1200" dirty="0"/>
        </a:p>
      </dsp:txBody>
      <dsp:txXfrm>
        <a:off x="5714922" y="0"/>
        <a:ext cx="1771509" cy="1219200"/>
      </dsp:txXfrm>
    </dsp:sp>
    <dsp:sp modelId="{E89B695C-DD7D-44B3-9950-00C62E72C6D7}">
      <dsp:nvSpPr>
        <dsp:cNvPr id="0" name=""/>
        <dsp:cNvSpPr/>
      </dsp:nvSpPr>
      <dsp:spPr>
        <a:xfrm>
          <a:off x="5892073" y="1219398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Osiguranje nekretnine</a:t>
          </a:r>
        </a:p>
      </dsp:txBody>
      <dsp:txXfrm>
        <a:off x="5903501" y="1230826"/>
        <a:ext cx="1394351" cy="367321"/>
      </dsp:txXfrm>
    </dsp:sp>
    <dsp:sp modelId="{3530B0D7-D399-4BDE-97E5-170F61EF68AE}">
      <dsp:nvSpPr>
        <dsp:cNvPr id="0" name=""/>
        <dsp:cNvSpPr/>
      </dsp:nvSpPr>
      <dsp:spPr>
        <a:xfrm>
          <a:off x="5892073" y="1669603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Kućanstvo</a:t>
          </a:r>
        </a:p>
      </dsp:txBody>
      <dsp:txXfrm>
        <a:off x="5903501" y="1681031"/>
        <a:ext cx="1394351" cy="367321"/>
      </dsp:txXfrm>
    </dsp:sp>
    <dsp:sp modelId="{4BF1E28C-1CDE-4FD4-85E5-B604075B15CF}">
      <dsp:nvSpPr>
        <dsp:cNvPr id="0" name=""/>
        <dsp:cNvSpPr/>
      </dsp:nvSpPr>
      <dsp:spPr>
        <a:xfrm>
          <a:off x="5892073" y="2119808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Malo i srednje poduzetništvo</a:t>
          </a:r>
        </a:p>
      </dsp:txBody>
      <dsp:txXfrm>
        <a:off x="5903501" y="2131236"/>
        <a:ext cx="1394351" cy="367321"/>
      </dsp:txXfrm>
    </dsp:sp>
    <dsp:sp modelId="{AC00BD5B-535E-433E-8CA3-E8E9D7C906C4}">
      <dsp:nvSpPr>
        <dsp:cNvPr id="0" name=""/>
        <dsp:cNvSpPr/>
      </dsp:nvSpPr>
      <dsp:spPr>
        <a:xfrm>
          <a:off x="5892073" y="2570013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Mali i obiteljski hoteli</a:t>
          </a:r>
        </a:p>
      </dsp:txBody>
      <dsp:txXfrm>
        <a:off x="5903501" y="2581441"/>
        <a:ext cx="1394351" cy="367321"/>
      </dsp:txXfrm>
    </dsp:sp>
    <dsp:sp modelId="{A7DDC110-CC4D-4E88-AD66-382A45432CCA}">
      <dsp:nvSpPr>
        <dsp:cNvPr id="0" name=""/>
        <dsp:cNvSpPr/>
      </dsp:nvSpPr>
      <dsp:spPr>
        <a:xfrm>
          <a:off x="5892073" y="3020218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Potres</a:t>
          </a:r>
        </a:p>
      </dsp:txBody>
      <dsp:txXfrm>
        <a:off x="5903501" y="3031646"/>
        <a:ext cx="1394351" cy="367321"/>
      </dsp:txXfrm>
    </dsp:sp>
    <dsp:sp modelId="{3CEF552E-3A82-41FC-ADF8-BF023B814D87}">
      <dsp:nvSpPr>
        <dsp:cNvPr id="0" name=""/>
        <dsp:cNvSpPr/>
      </dsp:nvSpPr>
      <dsp:spPr>
        <a:xfrm>
          <a:off x="5892073" y="3470423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9050" rIns="254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000" kern="1200" dirty="0" smtClean="0"/>
            <a:t>Stambene zgrade</a:t>
          </a:r>
        </a:p>
      </dsp:txBody>
      <dsp:txXfrm>
        <a:off x="5903501" y="3481851"/>
        <a:ext cx="1394351" cy="3673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80C364-A462-4003-BB40-9916F747E303}">
      <dsp:nvSpPr>
        <dsp:cNvPr id="0" name=""/>
        <dsp:cNvSpPr/>
      </dsp:nvSpPr>
      <dsp:spPr>
        <a:xfrm>
          <a:off x="1132" y="0"/>
          <a:ext cx="1771509" cy="40640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Putno</a:t>
          </a:r>
          <a:endParaRPr lang="hr-HR" sz="1800" kern="1200" dirty="0"/>
        </a:p>
      </dsp:txBody>
      <dsp:txXfrm>
        <a:off x="1132" y="0"/>
        <a:ext cx="1771509" cy="1219200"/>
      </dsp:txXfrm>
    </dsp:sp>
    <dsp:sp modelId="{DD3BD930-5255-4FEE-AE40-D32D05AE5EB2}">
      <dsp:nvSpPr>
        <dsp:cNvPr id="0" name=""/>
        <dsp:cNvSpPr/>
      </dsp:nvSpPr>
      <dsp:spPr>
        <a:xfrm>
          <a:off x="178956" y="1219299"/>
          <a:ext cx="1417207" cy="5920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Putno 2GO</a:t>
          </a:r>
        </a:p>
      </dsp:txBody>
      <dsp:txXfrm>
        <a:off x="196296" y="1236639"/>
        <a:ext cx="1382527" cy="557358"/>
      </dsp:txXfrm>
    </dsp:sp>
    <dsp:sp modelId="{CAFA3952-9DD0-48F5-9C9A-916A9746633B}">
      <dsp:nvSpPr>
        <dsp:cNvPr id="0" name=""/>
        <dsp:cNvSpPr/>
      </dsp:nvSpPr>
      <dsp:spPr>
        <a:xfrm>
          <a:off x="178956" y="1902420"/>
          <a:ext cx="1417207" cy="5920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Putno 2GO za skijaše</a:t>
          </a:r>
        </a:p>
      </dsp:txBody>
      <dsp:txXfrm>
        <a:off x="196296" y="1919760"/>
        <a:ext cx="1382527" cy="557358"/>
      </dsp:txXfrm>
    </dsp:sp>
    <dsp:sp modelId="{BA8A21B9-61FB-4AF6-8C6F-423198768018}">
      <dsp:nvSpPr>
        <dsp:cNvPr id="0" name=""/>
        <dsp:cNvSpPr/>
      </dsp:nvSpPr>
      <dsp:spPr>
        <a:xfrm>
          <a:off x="178956" y="2585541"/>
          <a:ext cx="1417207" cy="5920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Horizont</a:t>
          </a:r>
        </a:p>
      </dsp:txBody>
      <dsp:txXfrm>
        <a:off x="196296" y="2602881"/>
        <a:ext cx="1382527" cy="557358"/>
      </dsp:txXfrm>
    </dsp:sp>
    <dsp:sp modelId="{8FA29A64-D5D7-4138-82EF-09A0C0DBDBDD}">
      <dsp:nvSpPr>
        <dsp:cNvPr id="0" name=""/>
        <dsp:cNvSpPr/>
      </dsp:nvSpPr>
      <dsp:spPr>
        <a:xfrm>
          <a:off x="178956" y="3268662"/>
          <a:ext cx="1417207" cy="5920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Pahuljica</a:t>
          </a:r>
        </a:p>
      </dsp:txBody>
      <dsp:txXfrm>
        <a:off x="196296" y="3286002"/>
        <a:ext cx="1382527" cy="557358"/>
      </dsp:txXfrm>
    </dsp:sp>
    <dsp:sp modelId="{0B238ADB-536F-4D90-AFD9-EA7FBC03BA3C}">
      <dsp:nvSpPr>
        <dsp:cNvPr id="0" name=""/>
        <dsp:cNvSpPr/>
      </dsp:nvSpPr>
      <dsp:spPr>
        <a:xfrm>
          <a:off x="1906177" y="0"/>
          <a:ext cx="1771509" cy="40640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Plovila</a:t>
          </a:r>
          <a:endParaRPr lang="hr-HR" sz="1800" kern="1200" dirty="0"/>
        </a:p>
      </dsp:txBody>
      <dsp:txXfrm>
        <a:off x="1906177" y="0"/>
        <a:ext cx="1771509" cy="1219200"/>
      </dsp:txXfrm>
    </dsp:sp>
    <dsp:sp modelId="{E95B40FB-5CA8-48BF-A5C5-3D1E326C6E19}">
      <dsp:nvSpPr>
        <dsp:cNvPr id="0" name=""/>
        <dsp:cNvSpPr/>
      </dsp:nvSpPr>
      <dsp:spPr>
        <a:xfrm>
          <a:off x="2083328" y="1219398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Obvezno za plovila</a:t>
          </a:r>
          <a:endParaRPr lang="hr-HR" sz="1100" kern="1200" dirty="0"/>
        </a:p>
      </dsp:txBody>
      <dsp:txXfrm>
        <a:off x="2094756" y="1230826"/>
        <a:ext cx="1394351" cy="367321"/>
      </dsp:txXfrm>
    </dsp:sp>
    <dsp:sp modelId="{8220B28B-E415-40BA-A402-C97B1D33F56E}">
      <dsp:nvSpPr>
        <dsp:cNvPr id="0" name=""/>
        <dsp:cNvSpPr/>
      </dsp:nvSpPr>
      <dsp:spPr>
        <a:xfrm>
          <a:off x="2083328" y="1669603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Kasko za brodice i jahte</a:t>
          </a:r>
          <a:endParaRPr lang="hr-HR" sz="1100" kern="1200" dirty="0"/>
        </a:p>
      </dsp:txBody>
      <dsp:txXfrm>
        <a:off x="2094756" y="1681031"/>
        <a:ext cx="1394351" cy="367321"/>
      </dsp:txXfrm>
    </dsp:sp>
    <dsp:sp modelId="{EECE0709-95F1-430D-A181-A545A6DEE441}">
      <dsp:nvSpPr>
        <dsp:cNvPr id="0" name=""/>
        <dsp:cNvSpPr/>
      </dsp:nvSpPr>
      <dsp:spPr>
        <a:xfrm>
          <a:off x="2083328" y="2119808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Osiguranje brodova</a:t>
          </a:r>
          <a:endParaRPr lang="hr-HR" sz="1100" kern="1200" dirty="0"/>
        </a:p>
      </dsp:txBody>
      <dsp:txXfrm>
        <a:off x="2094756" y="2131236"/>
        <a:ext cx="1394351" cy="367321"/>
      </dsp:txXfrm>
    </dsp:sp>
    <dsp:sp modelId="{2348B09A-50DB-49F2-9050-D4BDBBA7E2E0}">
      <dsp:nvSpPr>
        <dsp:cNvPr id="0" name=""/>
        <dsp:cNvSpPr/>
      </dsp:nvSpPr>
      <dsp:spPr>
        <a:xfrm>
          <a:off x="2083328" y="2570013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Osiguranje od odgovornosti skipera</a:t>
          </a:r>
          <a:endParaRPr lang="hr-HR" sz="1100" kern="1200" dirty="0"/>
        </a:p>
      </dsp:txBody>
      <dsp:txXfrm>
        <a:off x="2094756" y="2581441"/>
        <a:ext cx="1394351" cy="367321"/>
      </dsp:txXfrm>
    </dsp:sp>
    <dsp:sp modelId="{5A851137-C1A9-4D5A-B55A-0EFB22471695}">
      <dsp:nvSpPr>
        <dsp:cNvPr id="0" name=""/>
        <dsp:cNvSpPr/>
      </dsp:nvSpPr>
      <dsp:spPr>
        <a:xfrm>
          <a:off x="2083328" y="3020218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Brodovi u izgradnji</a:t>
          </a:r>
          <a:endParaRPr lang="hr-HR" sz="1100" kern="1200" dirty="0"/>
        </a:p>
      </dsp:txBody>
      <dsp:txXfrm>
        <a:off x="2094756" y="3031646"/>
        <a:ext cx="1394351" cy="367321"/>
      </dsp:txXfrm>
    </dsp:sp>
    <dsp:sp modelId="{6A1BE4A9-76F7-4533-A634-9CC20B8BBB00}">
      <dsp:nvSpPr>
        <dsp:cNvPr id="0" name=""/>
        <dsp:cNvSpPr/>
      </dsp:nvSpPr>
      <dsp:spPr>
        <a:xfrm>
          <a:off x="2083328" y="3470423"/>
          <a:ext cx="1417207" cy="3901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Odgovornost popravljača plovila</a:t>
          </a:r>
          <a:endParaRPr lang="hr-HR" sz="1100" kern="1200" dirty="0"/>
        </a:p>
      </dsp:txBody>
      <dsp:txXfrm>
        <a:off x="2094756" y="3481851"/>
        <a:ext cx="1394351" cy="367321"/>
      </dsp:txXfrm>
    </dsp:sp>
    <dsp:sp modelId="{46B48E48-1DC2-4414-B621-BD7952C5DFF1}">
      <dsp:nvSpPr>
        <dsp:cNvPr id="0" name=""/>
        <dsp:cNvSpPr/>
      </dsp:nvSpPr>
      <dsp:spPr>
        <a:xfrm>
          <a:off x="3810550" y="0"/>
          <a:ext cx="1771509" cy="40640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Transport</a:t>
          </a:r>
          <a:endParaRPr lang="hr-HR" sz="1800" kern="1200" dirty="0"/>
        </a:p>
      </dsp:txBody>
      <dsp:txXfrm>
        <a:off x="3810550" y="0"/>
        <a:ext cx="1771509" cy="1219200"/>
      </dsp:txXfrm>
    </dsp:sp>
    <dsp:sp modelId="{99444B2E-7BCA-4183-8BC3-3C8333BEF1CA}">
      <dsp:nvSpPr>
        <dsp:cNvPr id="0" name=""/>
        <dsp:cNvSpPr/>
      </dsp:nvSpPr>
      <dsp:spPr>
        <a:xfrm>
          <a:off x="3987701" y="1220390"/>
          <a:ext cx="1417207" cy="1225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Prijevoznikova odgovornost za štete na pošiljkama u cestovnom prijevozu</a:t>
          </a:r>
          <a:endParaRPr lang="hr-HR" sz="1100" kern="1200" dirty="0"/>
        </a:p>
      </dsp:txBody>
      <dsp:txXfrm>
        <a:off x="4023590" y="1256279"/>
        <a:ext cx="1345429" cy="1153573"/>
      </dsp:txXfrm>
    </dsp:sp>
    <dsp:sp modelId="{9753183C-7E93-41A7-98AC-EE4D9EE86910}">
      <dsp:nvSpPr>
        <dsp:cNvPr id="0" name=""/>
        <dsp:cNvSpPr/>
      </dsp:nvSpPr>
      <dsp:spPr>
        <a:xfrm>
          <a:off x="3987701" y="2634257"/>
          <a:ext cx="1417207" cy="1225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Roba u prijevozu</a:t>
          </a:r>
          <a:endParaRPr lang="hr-HR" sz="1100" kern="1200" dirty="0"/>
        </a:p>
      </dsp:txBody>
      <dsp:txXfrm>
        <a:off x="4023590" y="2670146"/>
        <a:ext cx="1345429" cy="1153573"/>
      </dsp:txXfrm>
    </dsp:sp>
    <dsp:sp modelId="{385E113D-74E7-40A6-B71D-815A6C8CD533}">
      <dsp:nvSpPr>
        <dsp:cNvPr id="0" name=""/>
        <dsp:cNvSpPr/>
      </dsp:nvSpPr>
      <dsp:spPr>
        <a:xfrm>
          <a:off x="5714922" y="0"/>
          <a:ext cx="1771509" cy="40640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800" kern="1200" dirty="0" smtClean="0"/>
            <a:t>Zdravstveno</a:t>
          </a:r>
          <a:endParaRPr lang="hr-HR" sz="1800" kern="1200" dirty="0"/>
        </a:p>
      </dsp:txBody>
      <dsp:txXfrm>
        <a:off x="5714922" y="0"/>
        <a:ext cx="1771509" cy="1219200"/>
      </dsp:txXfrm>
    </dsp:sp>
    <dsp:sp modelId="{E89B695C-DD7D-44B3-9950-00C62E72C6D7}">
      <dsp:nvSpPr>
        <dsp:cNvPr id="0" name=""/>
        <dsp:cNvSpPr/>
      </dsp:nvSpPr>
      <dsp:spPr>
        <a:xfrm>
          <a:off x="5892073" y="1219200"/>
          <a:ext cx="1417207" cy="26416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0955" rIns="27940" bIns="2095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r-HR" sz="1100" kern="1200" dirty="0" smtClean="0"/>
            <a:t>Dopunsko</a:t>
          </a:r>
        </a:p>
      </dsp:txBody>
      <dsp:txXfrm>
        <a:off x="5933582" y="1260709"/>
        <a:ext cx="1334189" cy="25585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21BE78D-C859-4462-80A9-8D9544CBB8A1}" type="datetime1">
              <a:rPr lang="it-IT"/>
              <a:pPr>
                <a:defRPr/>
              </a:pPr>
              <a:t>14/06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420F480-C02A-4741-9167-E8B84244ED98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7621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D2430C5-2671-4B6F-89FE-DF6E6775651A}" type="datetime1">
              <a:rPr lang="it-IT"/>
              <a:pPr>
                <a:defRPr/>
              </a:pPr>
              <a:t>14/06/201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3927552-B636-4217-BFCE-6BF5CCCB31BF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3476489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r-HR" smtClean="0"/>
          </a:p>
        </p:txBody>
      </p:sp>
      <p:sp>
        <p:nvSpPr>
          <p:cNvPr id="6554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9FB9A71-C8EE-4177-8248-060099C7CFB4}" type="slidenum">
              <a:rPr lang="it-IT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it-IT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3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r-Latn-RS" smtClean="0"/>
          </a:p>
        </p:txBody>
      </p:sp>
      <p:sp>
        <p:nvSpPr>
          <p:cNvPr id="66564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EF4944B-42DB-4890-8A92-38A48224F8CE}" type="slidenum">
              <a:rPr lang="it-IT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it-IT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r-Latn-RS" smtClean="0"/>
          </a:p>
        </p:txBody>
      </p:sp>
      <p:sp>
        <p:nvSpPr>
          <p:cNvPr id="6758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CC81414F-98B5-47A4-9AE8-72C306216BD1}" type="slidenum">
              <a:rPr lang="it-IT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it-IT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r-Latn-RS" smtClean="0"/>
          </a:p>
        </p:txBody>
      </p:sp>
      <p:sp>
        <p:nvSpPr>
          <p:cNvPr id="7066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8591C81B-51DD-44C2-9A34-3DFC90C15820}" type="slidenum">
              <a:rPr lang="it-IT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it-IT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r-Latn-RS" smtClean="0"/>
          </a:p>
        </p:txBody>
      </p:sp>
      <p:sp>
        <p:nvSpPr>
          <p:cNvPr id="7270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921C506-51C6-4A94-995F-549F32B8AE6C}" type="slidenum">
              <a:rPr lang="it-IT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it-IT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4755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r-Latn-RS" smtClean="0"/>
          </a:p>
        </p:txBody>
      </p:sp>
      <p:sp>
        <p:nvSpPr>
          <p:cNvPr id="7475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70FFC81D-F8AB-4AEE-B762-31BD41482A1F}" type="slidenum">
              <a:rPr lang="it-IT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it-IT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r-Latn-RS" smtClean="0"/>
          </a:p>
        </p:txBody>
      </p:sp>
      <p:sp>
        <p:nvSpPr>
          <p:cNvPr id="76804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E1C1058-FD6B-4E54-8EA8-85F4CE613293}" type="slidenum">
              <a:rPr lang="it-IT" smtClean="0">
                <a:solidFill>
                  <a:srgbClr val="000000"/>
                </a:solidFill>
                <a:latin typeface="Calibri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it-IT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1555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r-Latn-RS" smtClean="0"/>
          </a:p>
        </p:txBody>
      </p:sp>
      <p:sp>
        <p:nvSpPr>
          <p:cNvPr id="151556" name="Segnaposto numero diapositiva 3"/>
          <p:cNvSpPr txBox="1">
            <a:spLocks noGrp="1"/>
          </p:cNvSpPr>
          <p:nvPr/>
        </p:nvSpPr>
        <p:spPr bwMode="auto">
          <a:xfrm>
            <a:off x="3883991" y="8684961"/>
            <a:ext cx="2972392" cy="457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56" tIns="45528" rIns="91056" bIns="45528" anchor="b"/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algn="r" eaLnBrk="1" hangingPunct="1"/>
            <a:fld id="{17F982E6-E218-41A7-87C2-47F78C5365C9}" type="slidenum">
              <a:rPr lang="it-IT" sz="12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4</a:t>
            </a:fld>
            <a:endParaRPr lang="it-IT" sz="12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049"/>
          <a:stretch>
            <a:fillRect/>
          </a:stretch>
        </p:blipFill>
        <p:spPr bwMode="auto">
          <a:xfrm>
            <a:off x="0" y="0"/>
            <a:ext cx="2000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magin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3" y="287338"/>
            <a:ext cx="863600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47300" y="2130426"/>
            <a:ext cx="8386686" cy="869098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347300" y="3105306"/>
            <a:ext cx="8386686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1000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tem +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3"/>
          <p:cNvSpPr/>
          <p:nvPr userDrawn="1"/>
        </p:nvSpPr>
        <p:spPr>
          <a:xfrm>
            <a:off x="347663" y="4759325"/>
            <a:ext cx="8391525" cy="13017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/>
          </a:p>
        </p:txBody>
      </p:sp>
      <p:pic>
        <p:nvPicPr>
          <p:cNvPr id="8" name="Immagin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347663" y="4758685"/>
            <a:ext cx="8391525" cy="1302390"/>
          </a:xfrm>
        </p:spPr>
        <p:txBody>
          <a:bodyPr lIns="72000" tIns="72000" rIns="72000"/>
          <a:lstStyle>
            <a:lvl1pPr>
              <a:lnSpc>
                <a:spcPts val="1000"/>
              </a:lnSpc>
              <a:defRPr sz="800"/>
            </a:lvl1pPr>
            <a:lvl2pPr marL="194400" indent="-194400">
              <a:lnSpc>
                <a:spcPts val="1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ts val="1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ts val="1000"/>
              </a:lnSpc>
              <a:defRPr sz="800"/>
            </a:lvl4pPr>
            <a:lvl5pPr marL="460800" indent="-194400">
              <a:lnSpc>
                <a:spcPts val="1000"/>
              </a:lnSpc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15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8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Segnaposto contenuto 4"/>
          <p:cNvSpPr>
            <a:spLocks noGrp="1"/>
          </p:cNvSpPr>
          <p:nvPr>
            <p:ph sz="quarter" idx="21"/>
          </p:nvPr>
        </p:nvSpPr>
        <p:spPr>
          <a:xfrm>
            <a:off x="347663" y="1682750"/>
            <a:ext cx="8391525" cy="2976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22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D34079C-E343-4974-853D-63FAAADED6B1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11" name="Segnaposto data 3"/>
          <p:cNvSpPr>
            <a:spLocks noGrp="1"/>
          </p:cNvSpPr>
          <p:nvPr>
            <p:ph type="dt" sz="half" idx="23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C2033EB-8221-406E-8F87-61E9EB74172A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24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585765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 1 + Item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20"/>
          <p:cNvSpPr/>
          <p:nvPr userDrawn="1"/>
        </p:nvSpPr>
        <p:spPr>
          <a:xfrm>
            <a:off x="347663" y="1682750"/>
            <a:ext cx="8391525" cy="13017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/>
          </a:p>
        </p:txBody>
      </p:sp>
      <p:pic>
        <p:nvPicPr>
          <p:cNvPr id="8" name="Immagin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egnaposto testo 2"/>
          <p:cNvSpPr>
            <a:spLocks noGrp="1"/>
          </p:cNvSpPr>
          <p:nvPr>
            <p:ph type="body" sz="quarter" idx="20"/>
          </p:nvPr>
        </p:nvSpPr>
        <p:spPr>
          <a:xfrm>
            <a:off x="347663" y="1682750"/>
            <a:ext cx="8391525" cy="1302390"/>
          </a:xfrm>
        </p:spPr>
        <p:txBody>
          <a:bodyPr lIns="72000" tIns="72000" rIns="72000"/>
          <a:lstStyle>
            <a:lvl1pPr>
              <a:lnSpc>
                <a:spcPts val="1000"/>
              </a:lnSpc>
              <a:defRPr sz="800"/>
            </a:lvl1pPr>
            <a:lvl2pPr marL="194400" indent="-194400">
              <a:lnSpc>
                <a:spcPts val="1000"/>
              </a:lnSpc>
              <a:spcBef>
                <a:spcPts val="400"/>
              </a:spcBef>
              <a:spcAft>
                <a:spcPts val="400"/>
              </a:spcAft>
              <a:buClr>
                <a:schemeClr val="tx2"/>
              </a:buClr>
              <a:buFont typeface="Arial"/>
              <a:buChar char="•"/>
              <a:defRPr sz="800" b="0" i="0"/>
            </a:lvl2pPr>
            <a:lvl3pPr marL="460800" indent="-194400">
              <a:lnSpc>
                <a:spcPts val="1000"/>
              </a:lnSpc>
              <a:buClr>
                <a:schemeClr val="tx2"/>
              </a:buClr>
              <a:buFont typeface="Wingdings" charset="2"/>
              <a:buChar char="ü"/>
              <a:defRPr sz="800"/>
            </a:lvl3pPr>
            <a:lvl4pPr marL="460800" indent="-194400">
              <a:lnSpc>
                <a:spcPts val="1000"/>
              </a:lnSpc>
              <a:defRPr sz="800"/>
            </a:lvl4pPr>
            <a:lvl5pPr marL="460800" indent="-194400">
              <a:lnSpc>
                <a:spcPts val="1000"/>
              </a:lnSpc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15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8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Segnaposto contenuto 2"/>
          <p:cNvSpPr>
            <a:spLocks noGrp="1"/>
          </p:cNvSpPr>
          <p:nvPr>
            <p:ph sz="quarter" idx="22"/>
          </p:nvPr>
        </p:nvSpPr>
        <p:spPr>
          <a:xfrm>
            <a:off x="347663" y="3084513"/>
            <a:ext cx="8391525" cy="29765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23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2B4AA8F-3EEE-4093-A927-C669795CC836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11" name="Segnaposto data 3"/>
          <p:cNvSpPr>
            <a:spLocks noGrp="1"/>
          </p:cNvSpPr>
          <p:nvPr>
            <p:ph type="dt" sz="half" idx="24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5D83E3A-410C-424A-BE93-3E579078EA19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25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50143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 + Item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4132303" cy="4378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19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20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23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Segnaposto contenuto 2"/>
          <p:cNvSpPr>
            <a:spLocks noGrp="1"/>
          </p:cNvSpPr>
          <p:nvPr>
            <p:ph sz="quarter" idx="17"/>
          </p:nvPr>
        </p:nvSpPr>
        <p:spPr>
          <a:xfrm>
            <a:off x="4613275" y="1682750"/>
            <a:ext cx="4125913" cy="4378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8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22FB1AF-2E1C-4529-8091-FA144A142AC8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9"/>
          </p:nvPr>
        </p:nvSpPr>
        <p:spPr>
          <a:xfrm>
            <a:off x="3679825" y="6459538"/>
            <a:ext cx="800100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CF0FD22-A6C9-407E-A35E-C20CFEEBCC96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20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105269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able + Text Big bulle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Segnaposto tabella 4"/>
          <p:cNvSpPr>
            <a:spLocks noGrp="1"/>
          </p:cNvSpPr>
          <p:nvPr>
            <p:ph type="tbl" sz="quarter" idx="19"/>
          </p:nvPr>
        </p:nvSpPr>
        <p:spPr>
          <a:xfrm>
            <a:off x="347663" y="1682750"/>
            <a:ext cx="8386762" cy="2976563"/>
          </a:xfrm>
        </p:spPr>
        <p:txBody>
          <a:bodyPr rtlCol="0">
            <a:noAutofit/>
          </a:bodyPr>
          <a:lstStyle/>
          <a:p>
            <a:pPr lvl="0"/>
            <a:r>
              <a:rPr lang="en-US" noProof="0" smtClean="0"/>
              <a:t>Click icon to add table</a:t>
            </a:r>
            <a:endParaRPr lang="it-IT" noProof="0"/>
          </a:p>
        </p:txBody>
      </p:sp>
      <p:sp>
        <p:nvSpPr>
          <p:cNvPr id="15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8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4763496"/>
            <a:ext cx="8391525" cy="1302390"/>
          </a:xfrm>
        </p:spPr>
        <p:txBody>
          <a:bodyPr/>
          <a:lstStyle>
            <a:lvl1pPr marL="0" indent="0" algn="l">
              <a:lnSpc>
                <a:spcPts val="22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410400" indent="-194400">
              <a:lnSpc>
                <a:spcPts val="1600"/>
              </a:lnSpc>
              <a:spcAft>
                <a:spcPts val="0"/>
              </a:spcAft>
              <a:buClr>
                <a:schemeClr val="tx2"/>
              </a:buClr>
              <a:buFont typeface="Wingdings" charset="2"/>
              <a:buChar char="§"/>
              <a:defRPr sz="1000" baseline="0"/>
            </a:lvl2pPr>
            <a:lvl3pPr marL="410400" indent="-194400">
              <a:buClr>
                <a:schemeClr val="tx1"/>
              </a:buClr>
              <a:buFont typeface="Lucida Grande"/>
              <a:buChar char="-"/>
              <a:defRPr sz="1000"/>
            </a:lvl3pPr>
            <a:lvl4pPr marL="410400" indent="-194400">
              <a:defRPr sz="1000"/>
            </a:lvl4pPr>
            <a:lvl5pPr marL="410400" indent="-194400">
              <a:buClr>
                <a:schemeClr val="tx1"/>
              </a:buClr>
              <a:buFont typeface="Wingdings" charset="2"/>
              <a:buChar char="Ø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20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85149C-5DDC-4E98-8BC8-90969F6FE3C3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21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24C9198-160E-4813-9417-26EF4DCE7015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1" name="Segnaposto piè di pagina 4"/>
          <p:cNvSpPr>
            <a:spLocks noGrp="1"/>
          </p:cNvSpPr>
          <p:nvPr>
            <p:ph type="ftr" sz="quarter" idx="22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492470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harts + Tables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egnaposto grafico 17"/>
          <p:cNvSpPr>
            <a:spLocks noGrp="1"/>
          </p:cNvSpPr>
          <p:nvPr>
            <p:ph type="chart" sz="quarter" idx="17"/>
          </p:nvPr>
        </p:nvSpPr>
        <p:spPr>
          <a:xfrm>
            <a:off x="4613300" y="1698839"/>
            <a:ext cx="4126071" cy="2101273"/>
          </a:xfrm>
        </p:spPr>
        <p:txBody>
          <a:bodyPr rtlCol="0">
            <a:noAutofit/>
          </a:bodyPr>
          <a:lstStyle/>
          <a:p>
            <a:pPr lvl="0"/>
            <a:r>
              <a:rPr lang="en-US" noProof="0" smtClean="0"/>
              <a:t>Click icon to add chart</a:t>
            </a:r>
            <a:endParaRPr lang="it-IT" noProof="0"/>
          </a:p>
        </p:txBody>
      </p:sp>
      <p:sp>
        <p:nvSpPr>
          <p:cNvPr id="24" name="Segnaposto tabella 2"/>
          <p:cNvSpPr>
            <a:spLocks noGrp="1"/>
          </p:cNvSpPr>
          <p:nvPr>
            <p:ph type="tbl" sz="quarter" idx="21"/>
          </p:nvPr>
        </p:nvSpPr>
        <p:spPr>
          <a:xfrm>
            <a:off x="4613301" y="4066642"/>
            <a:ext cx="4120686" cy="2016945"/>
          </a:xfrm>
        </p:spPr>
        <p:txBody>
          <a:bodyPr rtlCol="0">
            <a:noAutofit/>
          </a:bodyPr>
          <a:lstStyle/>
          <a:p>
            <a:pPr lvl="0"/>
            <a:r>
              <a:rPr lang="en-US" noProof="0" smtClean="0"/>
              <a:t>Click icon to add table</a:t>
            </a:r>
            <a:endParaRPr lang="it-IT" noProof="0"/>
          </a:p>
        </p:txBody>
      </p:sp>
      <p:sp>
        <p:nvSpPr>
          <p:cNvPr id="25" name="Segnaposto grafico 17"/>
          <p:cNvSpPr>
            <a:spLocks noGrp="1"/>
          </p:cNvSpPr>
          <p:nvPr>
            <p:ph type="chart" sz="quarter" idx="22"/>
          </p:nvPr>
        </p:nvSpPr>
        <p:spPr>
          <a:xfrm>
            <a:off x="347300" y="1698839"/>
            <a:ext cx="4126071" cy="2101273"/>
          </a:xfrm>
        </p:spPr>
        <p:txBody>
          <a:bodyPr rtlCol="0">
            <a:noAutofit/>
          </a:bodyPr>
          <a:lstStyle/>
          <a:p>
            <a:pPr lvl="0"/>
            <a:r>
              <a:rPr lang="en-US" noProof="0" smtClean="0"/>
              <a:t>Click icon to add chart</a:t>
            </a:r>
            <a:endParaRPr lang="it-IT" noProof="0"/>
          </a:p>
        </p:txBody>
      </p:sp>
      <p:sp>
        <p:nvSpPr>
          <p:cNvPr id="26" name="Segnaposto tabella 2"/>
          <p:cNvSpPr>
            <a:spLocks noGrp="1"/>
          </p:cNvSpPr>
          <p:nvPr>
            <p:ph type="tbl" sz="quarter" idx="23"/>
          </p:nvPr>
        </p:nvSpPr>
        <p:spPr>
          <a:xfrm>
            <a:off x="347301" y="4066642"/>
            <a:ext cx="4120686" cy="2016945"/>
          </a:xfrm>
        </p:spPr>
        <p:txBody>
          <a:bodyPr rtlCol="0">
            <a:noAutofit/>
          </a:bodyPr>
          <a:lstStyle/>
          <a:p>
            <a:pPr lvl="0"/>
            <a:r>
              <a:rPr lang="en-US" noProof="0" smtClean="0"/>
              <a:t>Click icon to add table</a:t>
            </a:r>
            <a:endParaRPr lang="it-IT" noProof="0"/>
          </a:p>
        </p:txBody>
      </p:sp>
      <p:sp>
        <p:nvSpPr>
          <p:cNvPr id="17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21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27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Segnaposto numero diapositiva 5"/>
          <p:cNvSpPr>
            <a:spLocks noGrp="1"/>
          </p:cNvSpPr>
          <p:nvPr>
            <p:ph type="sldNum" sz="quarter" idx="24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6D3A229-3EBF-4A8E-8DB8-D219B016A740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25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EDED3D6-9A37-4CD9-B673-27F8FB54A7EB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3" name="Segnaposto piè di pagina 4"/>
          <p:cNvSpPr>
            <a:spLocks noGrp="1"/>
          </p:cNvSpPr>
          <p:nvPr>
            <p:ph type="ftr" sz="quarter" idx="26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330581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Freccia destra 1"/>
          <p:cNvSpPr/>
          <p:nvPr userDrawn="1"/>
        </p:nvSpPr>
        <p:spPr>
          <a:xfrm flipV="1">
            <a:off x="347663" y="3727450"/>
            <a:ext cx="8391525" cy="236538"/>
          </a:xfrm>
          <a:prstGeom prst="rightArrow">
            <a:avLst>
              <a:gd name="adj1" fmla="val 50000"/>
              <a:gd name="adj2" fmla="val 15130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/>
          </a:p>
        </p:txBody>
      </p:sp>
      <p:cxnSp>
        <p:nvCxnSpPr>
          <p:cNvPr id="26" name="Connettore 1 9"/>
          <p:cNvCxnSpPr/>
          <p:nvPr userDrawn="1"/>
        </p:nvCxnSpPr>
        <p:spPr>
          <a:xfrm>
            <a:off x="347663" y="3171825"/>
            <a:ext cx="137636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1 21"/>
          <p:cNvCxnSpPr/>
          <p:nvPr userDrawn="1"/>
        </p:nvCxnSpPr>
        <p:spPr>
          <a:xfrm flipV="1">
            <a:off x="1047750" y="3171825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1 31"/>
          <p:cNvCxnSpPr/>
          <p:nvPr userDrawn="1"/>
        </p:nvCxnSpPr>
        <p:spPr>
          <a:xfrm>
            <a:off x="1169988" y="4510088"/>
            <a:ext cx="137795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32"/>
          <p:cNvCxnSpPr/>
          <p:nvPr userDrawn="1"/>
        </p:nvCxnSpPr>
        <p:spPr>
          <a:xfrm flipV="1">
            <a:off x="1870075" y="4217988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1 34"/>
          <p:cNvCxnSpPr/>
          <p:nvPr userDrawn="1"/>
        </p:nvCxnSpPr>
        <p:spPr>
          <a:xfrm>
            <a:off x="1960563" y="3171825"/>
            <a:ext cx="137636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ttore 1 35"/>
          <p:cNvCxnSpPr/>
          <p:nvPr userDrawn="1"/>
        </p:nvCxnSpPr>
        <p:spPr>
          <a:xfrm flipV="1">
            <a:off x="2660650" y="3171825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1 40"/>
          <p:cNvCxnSpPr/>
          <p:nvPr userDrawn="1"/>
        </p:nvCxnSpPr>
        <p:spPr>
          <a:xfrm>
            <a:off x="2794000" y="4510088"/>
            <a:ext cx="137795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1 41"/>
          <p:cNvCxnSpPr/>
          <p:nvPr userDrawn="1"/>
        </p:nvCxnSpPr>
        <p:spPr>
          <a:xfrm flipV="1">
            <a:off x="3495675" y="4217988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43"/>
          <p:cNvCxnSpPr/>
          <p:nvPr userDrawn="1"/>
        </p:nvCxnSpPr>
        <p:spPr>
          <a:xfrm>
            <a:off x="3575050" y="3171825"/>
            <a:ext cx="1376363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1 44"/>
          <p:cNvCxnSpPr/>
          <p:nvPr userDrawn="1"/>
        </p:nvCxnSpPr>
        <p:spPr>
          <a:xfrm flipV="1">
            <a:off x="4275138" y="3171825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ttore 1 46"/>
          <p:cNvCxnSpPr/>
          <p:nvPr userDrawn="1"/>
        </p:nvCxnSpPr>
        <p:spPr>
          <a:xfrm>
            <a:off x="4418013" y="4510088"/>
            <a:ext cx="137795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1 47"/>
          <p:cNvCxnSpPr/>
          <p:nvPr userDrawn="1"/>
        </p:nvCxnSpPr>
        <p:spPr>
          <a:xfrm flipV="1">
            <a:off x="5119688" y="4217988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ttore 1 49"/>
          <p:cNvCxnSpPr/>
          <p:nvPr userDrawn="1"/>
        </p:nvCxnSpPr>
        <p:spPr>
          <a:xfrm>
            <a:off x="6027738" y="4510088"/>
            <a:ext cx="137636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1 50"/>
          <p:cNvCxnSpPr/>
          <p:nvPr userDrawn="1"/>
        </p:nvCxnSpPr>
        <p:spPr>
          <a:xfrm flipV="1">
            <a:off x="6727825" y="4217988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1 52"/>
          <p:cNvCxnSpPr/>
          <p:nvPr userDrawn="1"/>
        </p:nvCxnSpPr>
        <p:spPr>
          <a:xfrm>
            <a:off x="5211763" y="3171825"/>
            <a:ext cx="137636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1 53"/>
          <p:cNvCxnSpPr/>
          <p:nvPr userDrawn="1"/>
        </p:nvCxnSpPr>
        <p:spPr>
          <a:xfrm flipV="1">
            <a:off x="5911850" y="3171825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ttore 1 55"/>
          <p:cNvCxnSpPr/>
          <p:nvPr userDrawn="1"/>
        </p:nvCxnSpPr>
        <p:spPr>
          <a:xfrm>
            <a:off x="6819900" y="3171825"/>
            <a:ext cx="1377950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1 56"/>
          <p:cNvCxnSpPr/>
          <p:nvPr userDrawn="1"/>
        </p:nvCxnSpPr>
        <p:spPr>
          <a:xfrm flipV="1">
            <a:off x="7521575" y="3171825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4"/>
          </p:nvPr>
        </p:nvSpPr>
        <p:spPr>
          <a:xfrm>
            <a:off x="693161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1516304" y="3963662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Segnaposto testo 3"/>
          <p:cNvSpPr>
            <a:spLocks noGrp="1"/>
          </p:cNvSpPr>
          <p:nvPr>
            <p:ph type="body" sz="quarter" idx="16"/>
          </p:nvPr>
        </p:nvSpPr>
        <p:spPr>
          <a:xfrm>
            <a:off x="2306144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Segnaposto testo 3"/>
          <p:cNvSpPr>
            <a:spLocks noGrp="1"/>
          </p:cNvSpPr>
          <p:nvPr>
            <p:ph type="body" sz="quarter" idx="17"/>
          </p:nvPr>
        </p:nvSpPr>
        <p:spPr>
          <a:xfrm>
            <a:off x="3140364" y="3963662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3921076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Segnaposto testo 3"/>
          <p:cNvSpPr>
            <a:spLocks noGrp="1"/>
          </p:cNvSpPr>
          <p:nvPr>
            <p:ph type="body" sz="quarter" idx="19"/>
          </p:nvPr>
        </p:nvSpPr>
        <p:spPr>
          <a:xfrm>
            <a:off x="4764424" y="3963662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9" name="Segnaposto testo 3"/>
          <p:cNvSpPr>
            <a:spLocks noGrp="1"/>
          </p:cNvSpPr>
          <p:nvPr>
            <p:ph type="body" sz="quarter" idx="20"/>
          </p:nvPr>
        </p:nvSpPr>
        <p:spPr>
          <a:xfrm>
            <a:off x="6373091" y="3963662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Segnaposto testo 3"/>
          <p:cNvSpPr>
            <a:spLocks noGrp="1"/>
          </p:cNvSpPr>
          <p:nvPr>
            <p:ph type="body" sz="quarter" idx="21"/>
          </p:nvPr>
        </p:nvSpPr>
        <p:spPr>
          <a:xfrm>
            <a:off x="5557715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5" name="Segnaposto testo 3"/>
          <p:cNvSpPr>
            <a:spLocks noGrp="1"/>
          </p:cNvSpPr>
          <p:nvPr>
            <p:ph type="body" sz="quarter" idx="22"/>
          </p:nvPr>
        </p:nvSpPr>
        <p:spPr>
          <a:xfrm>
            <a:off x="7166350" y="3543601"/>
            <a:ext cx="707688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0" name="Segnaposto testo 59"/>
          <p:cNvSpPr>
            <a:spLocks noGrp="1"/>
          </p:cNvSpPr>
          <p:nvPr>
            <p:ph type="body" sz="quarter" idx="23"/>
          </p:nvPr>
        </p:nvSpPr>
        <p:spPr>
          <a:xfrm>
            <a:off x="347663" y="166254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61" name="Segnaposto testo 59"/>
          <p:cNvSpPr>
            <a:spLocks noGrp="1"/>
          </p:cNvSpPr>
          <p:nvPr>
            <p:ph type="body" sz="quarter" idx="24"/>
          </p:nvPr>
        </p:nvSpPr>
        <p:spPr>
          <a:xfrm>
            <a:off x="1972526" y="166254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62" name="Segnaposto testo 59"/>
          <p:cNvSpPr>
            <a:spLocks noGrp="1"/>
          </p:cNvSpPr>
          <p:nvPr>
            <p:ph type="body" sz="quarter" idx="25"/>
          </p:nvPr>
        </p:nvSpPr>
        <p:spPr>
          <a:xfrm>
            <a:off x="3575215" y="166254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63" name="Segnaposto testo 59"/>
          <p:cNvSpPr>
            <a:spLocks noGrp="1"/>
          </p:cNvSpPr>
          <p:nvPr>
            <p:ph type="body" sz="quarter" idx="26"/>
          </p:nvPr>
        </p:nvSpPr>
        <p:spPr>
          <a:xfrm>
            <a:off x="5222869" y="166254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64" name="Segnaposto testo 59"/>
          <p:cNvSpPr>
            <a:spLocks noGrp="1"/>
          </p:cNvSpPr>
          <p:nvPr>
            <p:ph type="body" sz="quarter" idx="27"/>
          </p:nvPr>
        </p:nvSpPr>
        <p:spPr>
          <a:xfrm>
            <a:off x="6844542" y="166254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70" name="Segnaposto testo 59"/>
          <p:cNvSpPr>
            <a:spLocks noGrp="1"/>
          </p:cNvSpPr>
          <p:nvPr>
            <p:ph type="body" sz="quarter" idx="29"/>
          </p:nvPr>
        </p:nvSpPr>
        <p:spPr>
          <a:xfrm>
            <a:off x="1172318" y="463357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71" name="Segnaposto testo 59"/>
          <p:cNvSpPr>
            <a:spLocks noGrp="1"/>
          </p:cNvSpPr>
          <p:nvPr>
            <p:ph type="body" sz="quarter" idx="30"/>
          </p:nvPr>
        </p:nvSpPr>
        <p:spPr>
          <a:xfrm>
            <a:off x="2794962" y="463357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72" name="Segnaposto testo 59"/>
          <p:cNvSpPr>
            <a:spLocks noGrp="1"/>
          </p:cNvSpPr>
          <p:nvPr>
            <p:ph type="body" sz="quarter" idx="31"/>
          </p:nvPr>
        </p:nvSpPr>
        <p:spPr>
          <a:xfrm>
            <a:off x="4430806" y="463357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3" name="Segnaposto testo 59"/>
          <p:cNvSpPr>
            <a:spLocks noGrp="1"/>
          </p:cNvSpPr>
          <p:nvPr>
            <p:ph type="body" sz="quarter" idx="32"/>
          </p:nvPr>
        </p:nvSpPr>
        <p:spPr>
          <a:xfrm>
            <a:off x="6027689" y="4633575"/>
            <a:ext cx="1376362" cy="13854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50" name="Segnaposto numero diapositiva 5"/>
          <p:cNvSpPr>
            <a:spLocks noGrp="1"/>
          </p:cNvSpPr>
          <p:nvPr>
            <p:ph type="sldNum" sz="quarter" idx="33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F445A2C-D4C5-47BD-B440-46F6C8FF6F8E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51" name="Segnaposto data 3"/>
          <p:cNvSpPr>
            <a:spLocks noGrp="1"/>
          </p:cNvSpPr>
          <p:nvPr>
            <p:ph type="dt" sz="half" idx="34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58F1E85-F106-406D-A3F5-E0692EB28273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53" name="Segnaposto piè di pagina 4"/>
          <p:cNvSpPr>
            <a:spLocks noGrp="1"/>
          </p:cNvSpPr>
          <p:nvPr>
            <p:ph type="ftr" sz="quarter" idx="35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695452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it-IT" dirty="0"/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D061770-9E34-4536-BAF9-A3DB35B7C6BE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5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0CA147C-84B8-4616-81EA-7F5D2BDDD2E8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6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506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01683" y="1682750"/>
            <a:ext cx="4132303" cy="4378325"/>
          </a:xfrm>
        </p:spPr>
        <p:txBody>
          <a:bodyPr tIns="46800"/>
          <a:lstStyle>
            <a:lvl1pPr>
              <a:lnSpc>
                <a:spcPts val="2600"/>
              </a:lnSpc>
              <a:spcBef>
                <a:spcPts val="0"/>
              </a:spcBef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Segnaposto testo 18"/>
          <p:cNvSpPr>
            <a:spLocks noGrp="1"/>
          </p:cNvSpPr>
          <p:nvPr>
            <p:ph type="body" sz="quarter" idx="15"/>
          </p:nvPr>
        </p:nvSpPr>
        <p:spPr>
          <a:xfrm>
            <a:off x="347300" y="1682750"/>
            <a:ext cx="4132303" cy="4378325"/>
          </a:xfrm>
        </p:spPr>
        <p:txBody>
          <a:bodyPr tIns="50400"/>
          <a:lstStyle>
            <a:lvl1pPr>
              <a:lnSpc>
                <a:spcPts val="3800"/>
              </a:lnSpc>
              <a:defRPr sz="3600" b="1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6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CFA5A2D-042E-4378-B692-262A9F9A96E0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17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372CBF05-0302-41F0-9975-24D4F090CB01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18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63552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am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object 3"/>
          <p:cNvSpPr txBox="1">
            <a:spLocks noChangeArrowheads="1"/>
          </p:cNvSpPr>
          <p:nvPr userDrawn="1"/>
        </p:nvSpPr>
        <p:spPr bwMode="auto">
          <a:xfrm>
            <a:off x="357188" y="715963"/>
            <a:ext cx="1336675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defRPr/>
            </a:pPr>
            <a:r>
              <a:rPr lang="it-IT" sz="20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eam</a:t>
            </a:r>
            <a:endParaRPr lang="sr-Latn-RS" sz="200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8" name="Immagin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egnaposto testo 5"/>
          <p:cNvSpPr>
            <a:spLocks noGrp="1"/>
          </p:cNvSpPr>
          <p:nvPr>
            <p:ph type="body" sz="quarter" idx="14"/>
          </p:nvPr>
        </p:nvSpPr>
        <p:spPr>
          <a:xfrm>
            <a:off x="347300" y="1223964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Segnaposto testo 5"/>
          <p:cNvSpPr>
            <a:spLocks noGrp="1"/>
          </p:cNvSpPr>
          <p:nvPr>
            <p:ph type="body" sz="quarter" idx="16"/>
          </p:nvPr>
        </p:nvSpPr>
        <p:spPr>
          <a:xfrm>
            <a:off x="347300" y="1462570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Segnaposto testo 5"/>
          <p:cNvSpPr>
            <a:spLocks noGrp="1"/>
          </p:cNvSpPr>
          <p:nvPr>
            <p:ph type="body" sz="quarter" idx="17"/>
          </p:nvPr>
        </p:nvSpPr>
        <p:spPr>
          <a:xfrm>
            <a:off x="347663" y="1678085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Segnaposto testo 5"/>
          <p:cNvSpPr>
            <a:spLocks noGrp="1"/>
          </p:cNvSpPr>
          <p:nvPr>
            <p:ph type="body" sz="quarter" idx="18"/>
          </p:nvPr>
        </p:nvSpPr>
        <p:spPr>
          <a:xfrm>
            <a:off x="347300" y="1893601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Segnaposto testo 5"/>
          <p:cNvSpPr>
            <a:spLocks noGrp="1"/>
          </p:cNvSpPr>
          <p:nvPr>
            <p:ph type="body" sz="quarter" idx="19"/>
          </p:nvPr>
        </p:nvSpPr>
        <p:spPr>
          <a:xfrm>
            <a:off x="347300" y="2216873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Segnaposto testo 5"/>
          <p:cNvSpPr>
            <a:spLocks noGrp="1"/>
          </p:cNvSpPr>
          <p:nvPr>
            <p:ph type="body" sz="quarter" idx="20"/>
          </p:nvPr>
        </p:nvSpPr>
        <p:spPr>
          <a:xfrm>
            <a:off x="347300" y="245547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Segnaposto testo 5"/>
          <p:cNvSpPr>
            <a:spLocks noGrp="1"/>
          </p:cNvSpPr>
          <p:nvPr>
            <p:ph type="body" sz="quarter" idx="21"/>
          </p:nvPr>
        </p:nvSpPr>
        <p:spPr>
          <a:xfrm>
            <a:off x="347663" y="267099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egnaposto testo 5"/>
          <p:cNvSpPr>
            <a:spLocks noGrp="1"/>
          </p:cNvSpPr>
          <p:nvPr>
            <p:ph type="body" sz="quarter" idx="22"/>
          </p:nvPr>
        </p:nvSpPr>
        <p:spPr>
          <a:xfrm>
            <a:off x="347300" y="2886510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Segnaposto testo 5"/>
          <p:cNvSpPr>
            <a:spLocks noGrp="1"/>
          </p:cNvSpPr>
          <p:nvPr>
            <p:ph type="body" sz="quarter" idx="23"/>
          </p:nvPr>
        </p:nvSpPr>
        <p:spPr>
          <a:xfrm>
            <a:off x="347300" y="3217479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Segnaposto testo 5"/>
          <p:cNvSpPr>
            <a:spLocks noGrp="1"/>
          </p:cNvSpPr>
          <p:nvPr>
            <p:ph type="body" sz="quarter" idx="24"/>
          </p:nvPr>
        </p:nvSpPr>
        <p:spPr>
          <a:xfrm>
            <a:off x="347300" y="3456085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347663" y="3671600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26"/>
          </p:nvPr>
        </p:nvSpPr>
        <p:spPr>
          <a:xfrm>
            <a:off x="347300" y="3887116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Segnaposto testo 5"/>
          <p:cNvSpPr>
            <a:spLocks noGrp="1"/>
          </p:cNvSpPr>
          <p:nvPr>
            <p:ph type="body" sz="quarter" idx="27"/>
          </p:nvPr>
        </p:nvSpPr>
        <p:spPr>
          <a:xfrm>
            <a:off x="347300" y="4210388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Segnaposto testo 5"/>
          <p:cNvSpPr>
            <a:spLocks noGrp="1"/>
          </p:cNvSpPr>
          <p:nvPr>
            <p:ph type="body" sz="quarter" idx="28"/>
          </p:nvPr>
        </p:nvSpPr>
        <p:spPr>
          <a:xfrm>
            <a:off x="347300" y="444899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Segnaposto testo 5"/>
          <p:cNvSpPr>
            <a:spLocks noGrp="1"/>
          </p:cNvSpPr>
          <p:nvPr>
            <p:ph type="body" sz="quarter" idx="29"/>
          </p:nvPr>
        </p:nvSpPr>
        <p:spPr>
          <a:xfrm>
            <a:off x="347663" y="466450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Segnaposto testo 5"/>
          <p:cNvSpPr>
            <a:spLocks noGrp="1"/>
          </p:cNvSpPr>
          <p:nvPr>
            <p:ph type="body" sz="quarter" idx="30"/>
          </p:nvPr>
        </p:nvSpPr>
        <p:spPr>
          <a:xfrm>
            <a:off x="347300" y="4880025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31"/>
          </p:nvPr>
        </p:nvSpPr>
        <p:spPr>
          <a:xfrm>
            <a:off x="347300" y="5203298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Segnaposto testo 5"/>
          <p:cNvSpPr>
            <a:spLocks noGrp="1"/>
          </p:cNvSpPr>
          <p:nvPr>
            <p:ph type="body" sz="quarter" idx="32"/>
          </p:nvPr>
        </p:nvSpPr>
        <p:spPr>
          <a:xfrm>
            <a:off x="347300" y="544190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33"/>
          </p:nvPr>
        </p:nvSpPr>
        <p:spPr>
          <a:xfrm>
            <a:off x="347663" y="565741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34"/>
          </p:nvPr>
        </p:nvSpPr>
        <p:spPr>
          <a:xfrm>
            <a:off x="347300" y="5872935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Segnaposto testo 5"/>
          <p:cNvSpPr>
            <a:spLocks noGrp="1"/>
          </p:cNvSpPr>
          <p:nvPr>
            <p:ph type="body" sz="quarter" idx="35"/>
          </p:nvPr>
        </p:nvSpPr>
        <p:spPr>
          <a:xfrm>
            <a:off x="4615095" y="1223964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Segnaposto testo 5"/>
          <p:cNvSpPr>
            <a:spLocks noGrp="1"/>
          </p:cNvSpPr>
          <p:nvPr>
            <p:ph type="body" sz="quarter" idx="36"/>
          </p:nvPr>
        </p:nvSpPr>
        <p:spPr>
          <a:xfrm>
            <a:off x="4615095" y="1462570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Segnaposto testo 5"/>
          <p:cNvSpPr>
            <a:spLocks noGrp="1"/>
          </p:cNvSpPr>
          <p:nvPr>
            <p:ph type="body" sz="quarter" idx="37"/>
          </p:nvPr>
        </p:nvSpPr>
        <p:spPr>
          <a:xfrm>
            <a:off x="4615458" y="1678085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Segnaposto testo 5"/>
          <p:cNvSpPr>
            <a:spLocks noGrp="1"/>
          </p:cNvSpPr>
          <p:nvPr>
            <p:ph type="body" sz="quarter" idx="38"/>
          </p:nvPr>
        </p:nvSpPr>
        <p:spPr>
          <a:xfrm>
            <a:off x="4615095" y="1893601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Segnaposto testo 5"/>
          <p:cNvSpPr>
            <a:spLocks noGrp="1"/>
          </p:cNvSpPr>
          <p:nvPr>
            <p:ph type="body" sz="quarter" idx="39"/>
          </p:nvPr>
        </p:nvSpPr>
        <p:spPr>
          <a:xfrm>
            <a:off x="4615095" y="2216873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Segnaposto testo 5"/>
          <p:cNvSpPr>
            <a:spLocks noGrp="1"/>
          </p:cNvSpPr>
          <p:nvPr>
            <p:ph type="body" sz="quarter" idx="40"/>
          </p:nvPr>
        </p:nvSpPr>
        <p:spPr>
          <a:xfrm>
            <a:off x="4615095" y="245547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3" name="Segnaposto testo 5"/>
          <p:cNvSpPr>
            <a:spLocks noGrp="1"/>
          </p:cNvSpPr>
          <p:nvPr>
            <p:ph type="body" sz="quarter" idx="41"/>
          </p:nvPr>
        </p:nvSpPr>
        <p:spPr>
          <a:xfrm>
            <a:off x="4615458" y="267099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4" name="Segnaposto testo 5"/>
          <p:cNvSpPr>
            <a:spLocks noGrp="1"/>
          </p:cNvSpPr>
          <p:nvPr>
            <p:ph type="body" sz="quarter" idx="42"/>
          </p:nvPr>
        </p:nvSpPr>
        <p:spPr>
          <a:xfrm>
            <a:off x="4615095" y="2886510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5" name="Segnaposto testo 5"/>
          <p:cNvSpPr>
            <a:spLocks noGrp="1"/>
          </p:cNvSpPr>
          <p:nvPr>
            <p:ph type="body" sz="quarter" idx="43"/>
          </p:nvPr>
        </p:nvSpPr>
        <p:spPr>
          <a:xfrm>
            <a:off x="4615095" y="3217479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Segnaposto testo 5"/>
          <p:cNvSpPr>
            <a:spLocks noGrp="1"/>
          </p:cNvSpPr>
          <p:nvPr>
            <p:ph type="body" sz="quarter" idx="44"/>
          </p:nvPr>
        </p:nvSpPr>
        <p:spPr>
          <a:xfrm>
            <a:off x="4615095" y="3456085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7" name="Segnaposto testo 5"/>
          <p:cNvSpPr>
            <a:spLocks noGrp="1"/>
          </p:cNvSpPr>
          <p:nvPr>
            <p:ph type="body" sz="quarter" idx="45"/>
          </p:nvPr>
        </p:nvSpPr>
        <p:spPr>
          <a:xfrm>
            <a:off x="4615458" y="3671600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Segnaposto testo 5"/>
          <p:cNvSpPr>
            <a:spLocks noGrp="1"/>
          </p:cNvSpPr>
          <p:nvPr>
            <p:ph type="body" sz="quarter" idx="46"/>
          </p:nvPr>
        </p:nvSpPr>
        <p:spPr>
          <a:xfrm>
            <a:off x="4615095" y="3887116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9" name="Segnaposto testo 5"/>
          <p:cNvSpPr>
            <a:spLocks noGrp="1"/>
          </p:cNvSpPr>
          <p:nvPr>
            <p:ph type="body" sz="quarter" idx="47"/>
          </p:nvPr>
        </p:nvSpPr>
        <p:spPr>
          <a:xfrm>
            <a:off x="4615095" y="4210388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Segnaposto testo 5"/>
          <p:cNvSpPr>
            <a:spLocks noGrp="1"/>
          </p:cNvSpPr>
          <p:nvPr>
            <p:ph type="body" sz="quarter" idx="48"/>
          </p:nvPr>
        </p:nvSpPr>
        <p:spPr>
          <a:xfrm>
            <a:off x="4615095" y="444899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" name="Segnaposto testo 5"/>
          <p:cNvSpPr>
            <a:spLocks noGrp="1"/>
          </p:cNvSpPr>
          <p:nvPr>
            <p:ph type="body" sz="quarter" idx="49"/>
          </p:nvPr>
        </p:nvSpPr>
        <p:spPr>
          <a:xfrm>
            <a:off x="4615458" y="466450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Segnaposto testo 5"/>
          <p:cNvSpPr>
            <a:spLocks noGrp="1"/>
          </p:cNvSpPr>
          <p:nvPr>
            <p:ph type="body" sz="quarter" idx="50"/>
          </p:nvPr>
        </p:nvSpPr>
        <p:spPr>
          <a:xfrm>
            <a:off x="4615095" y="4880025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Segnaposto testo 5"/>
          <p:cNvSpPr>
            <a:spLocks noGrp="1"/>
          </p:cNvSpPr>
          <p:nvPr>
            <p:ph type="body" sz="quarter" idx="51"/>
          </p:nvPr>
        </p:nvSpPr>
        <p:spPr>
          <a:xfrm>
            <a:off x="4615095" y="5203298"/>
            <a:ext cx="4124276" cy="161492"/>
          </a:xfrm>
        </p:spPr>
        <p:txBody>
          <a:bodyPr/>
          <a:lstStyle>
            <a:lvl1pPr>
              <a:defRPr sz="1200" b="1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4" name="Segnaposto testo 5"/>
          <p:cNvSpPr>
            <a:spLocks noGrp="1"/>
          </p:cNvSpPr>
          <p:nvPr>
            <p:ph type="body" sz="quarter" idx="52"/>
          </p:nvPr>
        </p:nvSpPr>
        <p:spPr>
          <a:xfrm>
            <a:off x="4615095" y="5441904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5" name="Segnaposto testo 5"/>
          <p:cNvSpPr>
            <a:spLocks noGrp="1"/>
          </p:cNvSpPr>
          <p:nvPr>
            <p:ph type="body" sz="quarter" idx="53"/>
          </p:nvPr>
        </p:nvSpPr>
        <p:spPr>
          <a:xfrm>
            <a:off x="4615458" y="5657419"/>
            <a:ext cx="4124276" cy="161492"/>
          </a:xfrm>
        </p:spPr>
        <p:txBody>
          <a:bodyPr/>
          <a:lstStyle>
            <a:lvl1pPr>
              <a:defRPr sz="1000" b="0" i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6" name="Segnaposto testo 5"/>
          <p:cNvSpPr>
            <a:spLocks noGrp="1"/>
          </p:cNvSpPr>
          <p:nvPr>
            <p:ph type="body" sz="quarter" idx="54"/>
          </p:nvPr>
        </p:nvSpPr>
        <p:spPr>
          <a:xfrm>
            <a:off x="4615095" y="5872935"/>
            <a:ext cx="4124276" cy="161492"/>
          </a:xfrm>
        </p:spPr>
        <p:txBody>
          <a:bodyPr/>
          <a:lstStyle>
            <a:lvl1pPr>
              <a:defRPr sz="1000" b="0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0" name="Segnaposto numero diapositiva 5"/>
          <p:cNvSpPr>
            <a:spLocks noGrp="1"/>
          </p:cNvSpPr>
          <p:nvPr>
            <p:ph type="sldNum" sz="quarter" idx="55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E323D6B-4550-429F-B463-C689D1910A3A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61" name="Segnaposto data 3"/>
          <p:cNvSpPr>
            <a:spLocks noGrp="1"/>
          </p:cNvSpPr>
          <p:nvPr>
            <p:ph type="dt" sz="half" idx="56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A730E39-5FCF-447F-BAC7-7A1FED436F01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62" name="Segnaposto piè di pagina 4"/>
          <p:cNvSpPr>
            <a:spLocks noGrp="1"/>
          </p:cNvSpPr>
          <p:nvPr>
            <p:ph type="ftr" sz="quarter" idx="57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37146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bject 3"/>
          <p:cNvSpPr txBox="1">
            <a:spLocks noChangeArrowheads="1"/>
          </p:cNvSpPr>
          <p:nvPr userDrawn="1"/>
        </p:nvSpPr>
        <p:spPr bwMode="auto">
          <a:xfrm>
            <a:off x="357188" y="715963"/>
            <a:ext cx="2614612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defRPr/>
            </a:pPr>
            <a:r>
              <a:rPr lang="it-IT" sz="20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xt steps</a:t>
            </a:r>
            <a:endParaRPr lang="sr-Latn-RS" sz="200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1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" name="Segnaposto testo 54"/>
          <p:cNvSpPr>
            <a:spLocks noGrp="1"/>
          </p:cNvSpPr>
          <p:nvPr>
            <p:ph type="body" sz="quarter" idx="43"/>
          </p:nvPr>
        </p:nvSpPr>
        <p:spPr>
          <a:xfrm>
            <a:off x="358143" y="1223964"/>
            <a:ext cx="4117610" cy="169334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0" name="Segnaposto testo 54"/>
          <p:cNvSpPr>
            <a:spLocks noGrp="1"/>
          </p:cNvSpPr>
          <p:nvPr>
            <p:ph type="body" sz="quarter" idx="44"/>
          </p:nvPr>
        </p:nvSpPr>
        <p:spPr>
          <a:xfrm>
            <a:off x="358144" y="1400995"/>
            <a:ext cx="4117607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1" name="Segnaposto testo 54"/>
          <p:cNvSpPr>
            <a:spLocks noGrp="1"/>
          </p:cNvSpPr>
          <p:nvPr>
            <p:ph type="body" sz="quarter" idx="45"/>
          </p:nvPr>
        </p:nvSpPr>
        <p:spPr>
          <a:xfrm>
            <a:off x="358106" y="1939782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2" name="Segnaposto testo 54"/>
          <p:cNvSpPr>
            <a:spLocks noGrp="1"/>
          </p:cNvSpPr>
          <p:nvPr>
            <p:ph type="body" sz="quarter" idx="46"/>
          </p:nvPr>
        </p:nvSpPr>
        <p:spPr>
          <a:xfrm>
            <a:off x="358144" y="2093722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3" name="Segnaposto testo 54"/>
          <p:cNvSpPr>
            <a:spLocks noGrp="1"/>
          </p:cNvSpPr>
          <p:nvPr>
            <p:ph type="body" sz="quarter" idx="47"/>
          </p:nvPr>
        </p:nvSpPr>
        <p:spPr>
          <a:xfrm>
            <a:off x="358106" y="2632510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4" name="Segnaposto testo 54"/>
          <p:cNvSpPr>
            <a:spLocks noGrp="1"/>
          </p:cNvSpPr>
          <p:nvPr>
            <p:ph type="body" sz="quarter" idx="48"/>
          </p:nvPr>
        </p:nvSpPr>
        <p:spPr>
          <a:xfrm>
            <a:off x="358144" y="2786450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5" name="Segnaposto testo 54"/>
          <p:cNvSpPr>
            <a:spLocks noGrp="1"/>
          </p:cNvSpPr>
          <p:nvPr>
            <p:ph type="body" sz="quarter" idx="49"/>
          </p:nvPr>
        </p:nvSpPr>
        <p:spPr>
          <a:xfrm>
            <a:off x="358106" y="3332934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6" name="Segnaposto testo 54"/>
          <p:cNvSpPr>
            <a:spLocks noGrp="1"/>
          </p:cNvSpPr>
          <p:nvPr>
            <p:ph type="body" sz="quarter" idx="50"/>
          </p:nvPr>
        </p:nvSpPr>
        <p:spPr>
          <a:xfrm>
            <a:off x="358144" y="3486874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7" name="Segnaposto testo 54"/>
          <p:cNvSpPr>
            <a:spLocks noGrp="1"/>
          </p:cNvSpPr>
          <p:nvPr>
            <p:ph type="body" sz="quarter" idx="51"/>
          </p:nvPr>
        </p:nvSpPr>
        <p:spPr>
          <a:xfrm>
            <a:off x="358106" y="4033358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8" name="Segnaposto testo 54"/>
          <p:cNvSpPr>
            <a:spLocks noGrp="1"/>
          </p:cNvSpPr>
          <p:nvPr>
            <p:ph type="body" sz="quarter" idx="52"/>
          </p:nvPr>
        </p:nvSpPr>
        <p:spPr>
          <a:xfrm>
            <a:off x="358144" y="4187298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9" name="Segnaposto testo 54"/>
          <p:cNvSpPr>
            <a:spLocks noGrp="1"/>
          </p:cNvSpPr>
          <p:nvPr>
            <p:ph type="body" sz="quarter" idx="53"/>
          </p:nvPr>
        </p:nvSpPr>
        <p:spPr>
          <a:xfrm>
            <a:off x="358106" y="4733782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0" name="Segnaposto testo 54"/>
          <p:cNvSpPr>
            <a:spLocks noGrp="1"/>
          </p:cNvSpPr>
          <p:nvPr>
            <p:ph type="body" sz="quarter" idx="54"/>
          </p:nvPr>
        </p:nvSpPr>
        <p:spPr>
          <a:xfrm>
            <a:off x="358144" y="4887722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1" name="Segnaposto testo 54"/>
          <p:cNvSpPr>
            <a:spLocks noGrp="1"/>
          </p:cNvSpPr>
          <p:nvPr>
            <p:ph type="body" sz="quarter" idx="55"/>
          </p:nvPr>
        </p:nvSpPr>
        <p:spPr>
          <a:xfrm>
            <a:off x="358106" y="5418813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2" name="Segnaposto testo 54"/>
          <p:cNvSpPr>
            <a:spLocks noGrp="1"/>
          </p:cNvSpPr>
          <p:nvPr>
            <p:ph type="body" sz="quarter" idx="56"/>
          </p:nvPr>
        </p:nvSpPr>
        <p:spPr>
          <a:xfrm>
            <a:off x="358144" y="5572753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3" name="Segnaposto testo 54"/>
          <p:cNvSpPr>
            <a:spLocks noGrp="1"/>
          </p:cNvSpPr>
          <p:nvPr>
            <p:ph type="body" sz="quarter" idx="57"/>
          </p:nvPr>
        </p:nvSpPr>
        <p:spPr>
          <a:xfrm>
            <a:off x="4613299" y="1223964"/>
            <a:ext cx="4117610" cy="169334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4" name="Segnaposto testo 54"/>
          <p:cNvSpPr>
            <a:spLocks noGrp="1"/>
          </p:cNvSpPr>
          <p:nvPr>
            <p:ph type="body" sz="quarter" idx="58"/>
          </p:nvPr>
        </p:nvSpPr>
        <p:spPr>
          <a:xfrm>
            <a:off x="4613300" y="1400995"/>
            <a:ext cx="4117607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5" name="Segnaposto testo 54"/>
          <p:cNvSpPr>
            <a:spLocks noGrp="1"/>
          </p:cNvSpPr>
          <p:nvPr>
            <p:ph type="body" sz="quarter" idx="59"/>
          </p:nvPr>
        </p:nvSpPr>
        <p:spPr>
          <a:xfrm>
            <a:off x="4613262" y="1939782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6" name="Segnaposto testo 54"/>
          <p:cNvSpPr>
            <a:spLocks noGrp="1"/>
          </p:cNvSpPr>
          <p:nvPr>
            <p:ph type="body" sz="quarter" idx="60"/>
          </p:nvPr>
        </p:nvSpPr>
        <p:spPr>
          <a:xfrm>
            <a:off x="4613300" y="2093722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7" name="Segnaposto testo 54"/>
          <p:cNvSpPr>
            <a:spLocks noGrp="1"/>
          </p:cNvSpPr>
          <p:nvPr>
            <p:ph type="body" sz="quarter" idx="61"/>
          </p:nvPr>
        </p:nvSpPr>
        <p:spPr>
          <a:xfrm>
            <a:off x="4613262" y="2632510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8" name="Segnaposto testo 54"/>
          <p:cNvSpPr>
            <a:spLocks noGrp="1"/>
          </p:cNvSpPr>
          <p:nvPr>
            <p:ph type="body" sz="quarter" idx="62"/>
          </p:nvPr>
        </p:nvSpPr>
        <p:spPr>
          <a:xfrm>
            <a:off x="4613300" y="2786450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9" name="Segnaposto testo 54"/>
          <p:cNvSpPr>
            <a:spLocks noGrp="1"/>
          </p:cNvSpPr>
          <p:nvPr>
            <p:ph type="body" sz="quarter" idx="63"/>
          </p:nvPr>
        </p:nvSpPr>
        <p:spPr>
          <a:xfrm>
            <a:off x="4613262" y="3332934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0" name="Segnaposto testo 54"/>
          <p:cNvSpPr>
            <a:spLocks noGrp="1"/>
          </p:cNvSpPr>
          <p:nvPr>
            <p:ph type="body" sz="quarter" idx="64"/>
          </p:nvPr>
        </p:nvSpPr>
        <p:spPr>
          <a:xfrm>
            <a:off x="4613300" y="3486874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1" name="Segnaposto testo 54"/>
          <p:cNvSpPr>
            <a:spLocks noGrp="1"/>
          </p:cNvSpPr>
          <p:nvPr>
            <p:ph type="body" sz="quarter" idx="65"/>
          </p:nvPr>
        </p:nvSpPr>
        <p:spPr>
          <a:xfrm>
            <a:off x="4613262" y="4033358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2" name="Segnaposto testo 54"/>
          <p:cNvSpPr>
            <a:spLocks noGrp="1"/>
          </p:cNvSpPr>
          <p:nvPr>
            <p:ph type="body" sz="quarter" idx="66"/>
          </p:nvPr>
        </p:nvSpPr>
        <p:spPr>
          <a:xfrm>
            <a:off x="4613300" y="4187298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3" name="Segnaposto testo 54"/>
          <p:cNvSpPr>
            <a:spLocks noGrp="1"/>
          </p:cNvSpPr>
          <p:nvPr>
            <p:ph type="body" sz="quarter" idx="67"/>
          </p:nvPr>
        </p:nvSpPr>
        <p:spPr>
          <a:xfrm>
            <a:off x="4613262" y="4733782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4" name="Segnaposto testo 54"/>
          <p:cNvSpPr>
            <a:spLocks noGrp="1"/>
          </p:cNvSpPr>
          <p:nvPr>
            <p:ph type="body" sz="quarter" idx="68"/>
          </p:nvPr>
        </p:nvSpPr>
        <p:spPr>
          <a:xfrm>
            <a:off x="4613300" y="4887722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5" name="Segnaposto testo 54"/>
          <p:cNvSpPr>
            <a:spLocks noGrp="1"/>
          </p:cNvSpPr>
          <p:nvPr>
            <p:ph type="body" sz="quarter" idx="69"/>
          </p:nvPr>
        </p:nvSpPr>
        <p:spPr>
          <a:xfrm>
            <a:off x="4613262" y="5418813"/>
            <a:ext cx="4120354" cy="146097"/>
          </a:xfrm>
        </p:spPr>
        <p:txBody>
          <a:bodyPr/>
          <a:lstStyle>
            <a:lvl1pPr>
              <a:defRPr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6" name="Segnaposto testo 54"/>
          <p:cNvSpPr>
            <a:spLocks noGrp="1"/>
          </p:cNvSpPr>
          <p:nvPr>
            <p:ph type="body" sz="quarter" idx="70"/>
          </p:nvPr>
        </p:nvSpPr>
        <p:spPr>
          <a:xfrm>
            <a:off x="4613300" y="5572753"/>
            <a:ext cx="4120316" cy="415490"/>
          </a:xfrm>
        </p:spPr>
        <p:txBody>
          <a:bodyPr/>
          <a:lstStyle>
            <a:lvl1pPr>
              <a:lnSpc>
                <a:spcPts val="1700"/>
              </a:lnSpc>
              <a:defRPr sz="1500" b="1" i="0" baseline="0"/>
            </a:lvl1pPr>
            <a:lvl4pPr marL="733425" indent="-179388">
              <a:tabLst>
                <a:tab pos="361950" algn="l"/>
                <a:tab pos="538163" algn="l"/>
                <a:tab pos="808038" algn="l"/>
              </a:tabLst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Segnaposto numero diapositiva 5"/>
          <p:cNvSpPr>
            <a:spLocks noGrp="1"/>
          </p:cNvSpPr>
          <p:nvPr>
            <p:ph type="sldNum" sz="quarter" idx="71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AA4DE9D-90DD-4648-A18D-5CF5C3937092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34" name="Segnaposto data 3"/>
          <p:cNvSpPr>
            <a:spLocks noGrp="1"/>
          </p:cNvSpPr>
          <p:nvPr>
            <p:ph type="dt" sz="half" idx="72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DF4BF56-2070-49B5-A106-5E08D05A94B8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35" name="Segnaposto piè di pagina 4"/>
          <p:cNvSpPr>
            <a:spLocks noGrp="1"/>
          </p:cNvSpPr>
          <p:nvPr>
            <p:ph type="ftr" sz="quarter" idx="73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003989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347300" y="126000"/>
            <a:ext cx="8386686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F680228-5811-461F-AF7B-B9E751A9A403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7927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hart + Numeric Highlight: 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egnaposto grafico 20"/>
          <p:cNvSpPr>
            <a:spLocks noGrp="1"/>
          </p:cNvSpPr>
          <p:nvPr>
            <p:ph type="chart" sz="quarter" idx="17"/>
          </p:nvPr>
        </p:nvSpPr>
        <p:spPr>
          <a:xfrm>
            <a:off x="347300" y="1682750"/>
            <a:ext cx="4125913" cy="4378325"/>
          </a:xfrm>
        </p:spPr>
        <p:txBody>
          <a:bodyPr rtlCol="0">
            <a:noAutofit/>
          </a:bodyPr>
          <a:lstStyle/>
          <a:p>
            <a:pPr lvl="0"/>
            <a:r>
              <a:rPr lang="en-US" noProof="0" smtClean="0"/>
              <a:t>Click icon to add chart</a:t>
            </a:r>
            <a:endParaRPr lang="it-IT" noProof="0" dirty="0"/>
          </a:p>
        </p:txBody>
      </p:sp>
      <p:sp>
        <p:nvSpPr>
          <p:cNvPr id="20" name="Segnaposto testo 2"/>
          <p:cNvSpPr>
            <a:spLocks noGrp="1"/>
          </p:cNvSpPr>
          <p:nvPr>
            <p:ph type="body" sz="quarter" idx="15"/>
          </p:nvPr>
        </p:nvSpPr>
        <p:spPr>
          <a:xfrm>
            <a:off x="4648200" y="1682750"/>
            <a:ext cx="3976334" cy="1525588"/>
          </a:xfrm>
        </p:spPr>
        <p:txBody>
          <a:bodyPr spcCol="144000"/>
          <a:lstStyle>
            <a:lvl1pPr>
              <a:lnSpc>
                <a:spcPts val="6300"/>
              </a:lnSpc>
              <a:spcAft>
                <a:spcPts val="1800"/>
              </a:spcAft>
              <a:defRPr sz="7200" b="1" i="0" baseline="0">
                <a:solidFill>
                  <a:srgbClr val="BD0D22"/>
                </a:solidFill>
              </a:defRPr>
            </a:lvl1pPr>
            <a:lvl2pPr marL="0" indent="0">
              <a:buFontTx/>
              <a:buNone/>
              <a:defRPr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8"/>
          </p:nvPr>
        </p:nvSpPr>
        <p:spPr>
          <a:xfrm>
            <a:off x="4648200" y="3367465"/>
            <a:ext cx="3962400" cy="2693610"/>
          </a:xfrm>
        </p:spPr>
        <p:txBody>
          <a:bodyPr/>
          <a:lstStyle>
            <a:lvl1pPr>
              <a:defRPr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8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25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9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36337F4-D223-4A3B-B7B6-021E9C30128C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11" name="Segnaposto data 3"/>
          <p:cNvSpPr>
            <a:spLocks noGrp="1"/>
          </p:cNvSpPr>
          <p:nvPr>
            <p:ph type="dt" sz="half" idx="20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37880921-04D8-4462-AC13-986B59EB0C44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21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464192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049"/>
          <a:stretch>
            <a:fillRect/>
          </a:stretch>
        </p:blipFill>
        <p:spPr bwMode="auto">
          <a:xfrm>
            <a:off x="0" y="0"/>
            <a:ext cx="2000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magin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3" y="287338"/>
            <a:ext cx="863600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sellaDiTesto 10"/>
          <p:cNvSpPr txBox="1">
            <a:spLocks noChangeArrowheads="1"/>
          </p:cNvSpPr>
          <p:nvPr userDrawn="1"/>
        </p:nvSpPr>
        <p:spPr bwMode="auto">
          <a:xfrm>
            <a:off x="347663" y="3030538"/>
            <a:ext cx="8399462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defRPr/>
            </a:pPr>
            <a:r>
              <a:rPr lang="hr-HR" sz="3300" b="1" dirty="0" smtClean="0">
                <a:solidFill>
                  <a:schemeClr val="tx2"/>
                </a:solidFill>
              </a:rPr>
              <a:t>Hvala Vam na pažnji!</a:t>
            </a:r>
            <a:endParaRPr lang="it-IT" sz="3300" b="1" dirty="0" smtClean="0">
              <a:solidFill>
                <a:schemeClr val="tx2"/>
              </a:solidFill>
            </a:endParaRPr>
          </a:p>
        </p:txBody>
      </p:sp>
      <p:sp>
        <p:nvSpPr>
          <p:cNvPr id="10" name="CasellaDiTesto 16"/>
          <p:cNvSpPr txBox="1">
            <a:spLocks noChangeArrowheads="1"/>
          </p:cNvSpPr>
          <p:nvPr userDrawn="1"/>
        </p:nvSpPr>
        <p:spPr bwMode="auto">
          <a:xfrm>
            <a:off x="347663" y="4645025"/>
            <a:ext cx="457993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defRPr/>
            </a:pPr>
            <a:r>
              <a:rPr lang="it-IT" sz="1000" b="1" smtClean="0">
                <a:solidFill>
                  <a:schemeClr val="tx2"/>
                </a:solidFill>
              </a:rPr>
              <a:t>Contacts: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388" y="5681663"/>
            <a:ext cx="307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688" y="5681663"/>
            <a:ext cx="307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450" y="5681663"/>
            <a:ext cx="307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347300" y="5351463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Segnaposto testo 3"/>
          <p:cNvSpPr>
            <a:spLocks noGrp="1"/>
          </p:cNvSpPr>
          <p:nvPr>
            <p:ph type="body" sz="quarter" idx="12"/>
          </p:nvPr>
        </p:nvSpPr>
        <p:spPr>
          <a:xfrm>
            <a:off x="347300" y="5605463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Segnaposto testo 3"/>
          <p:cNvSpPr>
            <a:spLocks noGrp="1"/>
          </p:cNvSpPr>
          <p:nvPr>
            <p:ph type="body" sz="quarter" idx="13"/>
          </p:nvPr>
        </p:nvSpPr>
        <p:spPr>
          <a:xfrm>
            <a:off x="347300" y="5859463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Segnaposto testo 3"/>
          <p:cNvSpPr>
            <a:spLocks noGrp="1"/>
          </p:cNvSpPr>
          <p:nvPr>
            <p:ph type="body" sz="quarter" idx="14"/>
          </p:nvPr>
        </p:nvSpPr>
        <p:spPr>
          <a:xfrm>
            <a:off x="347300" y="5097463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347300" y="4838077"/>
            <a:ext cx="4580467" cy="16880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Segnaposto data 3"/>
          <p:cNvSpPr>
            <a:spLocks noGrp="1"/>
          </p:cNvSpPr>
          <p:nvPr>
            <p:ph type="dt" sz="half" idx="16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673D244-DCF0-40D4-8DA8-5BBA403C679A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15853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ck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olo 1"/>
          <p:cNvSpPr>
            <a:spLocks noGrp="1"/>
          </p:cNvSpPr>
          <p:nvPr>
            <p:ph type="ctrTitle"/>
          </p:nvPr>
        </p:nvSpPr>
        <p:spPr>
          <a:xfrm>
            <a:off x="347300" y="730606"/>
            <a:ext cx="8386686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1" name="Sottotitolo 2"/>
          <p:cNvSpPr>
            <a:spLocks noGrp="1"/>
          </p:cNvSpPr>
          <p:nvPr>
            <p:ph type="subTitle" idx="1"/>
          </p:nvPr>
        </p:nvSpPr>
        <p:spPr>
          <a:xfrm>
            <a:off x="347300" y="3105306"/>
            <a:ext cx="8386686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12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347300" y="2130426"/>
            <a:ext cx="8386686" cy="869098"/>
          </a:xfrm>
        </p:spPr>
        <p:txBody>
          <a:bodyPr/>
          <a:lstStyle>
            <a:lvl1pPr>
              <a:lnSpc>
                <a:spcPts val="3500"/>
              </a:lnSpc>
              <a:defRPr sz="3300" b="1" i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567A81C6-539C-441E-B676-780C539AF092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5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49D87A7-9F71-46F5-BE2E-801665B9D5D5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6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183196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5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8391525" cy="43783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5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2807A4F-D986-4CAF-A243-DEBA615AABA4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6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ABC4C78-2373-46D1-8C79-17EA74959844}" type="datetime1">
              <a:rPr lang="hr-HR"/>
              <a:pPr>
                <a:defRPr/>
              </a:pPr>
              <a:t>14.6.2016.</a:t>
            </a:fld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7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We, Generali: Vision, Mission &amp; Valu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7934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ica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347300" y="126000"/>
            <a:ext cx="8386686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F680228-5811-461F-AF7B-B9E751A9A403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3" hasCustomPrompt="1"/>
          </p:nvPr>
        </p:nvSpPr>
        <p:spPr>
          <a:xfrm>
            <a:off x="357188" y="990121"/>
            <a:ext cx="8382000" cy="4580167"/>
          </a:xfrm>
        </p:spPr>
        <p:txBody>
          <a:bodyPr numCol="2" spcCol="216000">
            <a:no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None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347300" y="447148"/>
            <a:ext cx="8386686" cy="305595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64091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ršn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049"/>
          <a:stretch>
            <a:fillRect/>
          </a:stretch>
        </p:blipFill>
        <p:spPr bwMode="auto">
          <a:xfrm>
            <a:off x="0" y="0"/>
            <a:ext cx="2000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magin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3" y="287338"/>
            <a:ext cx="863600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sellaDiTesto 10"/>
          <p:cNvSpPr txBox="1">
            <a:spLocks noChangeArrowheads="1"/>
          </p:cNvSpPr>
          <p:nvPr userDrawn="1"/>
        </p:nvSpPr>
        <p:spPr bwMode="auto">
          <a:xfrm>
            <a:off x="347663" y="3030538"/>
            <a:ext cx="8399462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defRPr/>
            </a:pPr>
            <a:r>
              <a:rPr lang="hr-HR" sz="3300" b="1" dirty="0" smtClean="0">
                <a:solidFill>
                  <a:schemeClr val="tx2"/>
                </a:solidFill>
              </a:rPr>
              <a:t>Hvala</a:t>
            </a:r>
            <a:r>
              <a:rPr lang="hr-HR" sz="3300" b="1" baseline="0" dirty="0" smtClean="0">
                <a:solidFill>
                  <a:schemeClr val="tx2"/>
                </a:solidFill>
              </a:rPr>
              <a:t> </a:t>
            </a:r>
            <a:r>
              <a:rPr lang="hr-HR" sz="3300" b="1" dirty="0" smtClean="0">
                <a:solidFill>
                  <a:schemeClr val="tx2"/>
                </a:solidFill>
              </a:rPr>
              <a:t>na pažnji!</a:t>
            </a:r>
            <a:endParaRPr lang="it-IT" sz="3300" b="1" dirty="0" smtClean="0">
              <a:solidFill>
                <a:schemeClr val="tx2"/>
              </a:solidFill>
            </a:endParaRP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388" y="5681663"/>
            <a:ext cx="307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688" y="5681663"/>
            <a:ext cx="307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450" y="5681663"/>
            <a:ext cx="3079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6755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347300" y="730606"/>
            <a:ext cx="8386686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347300" y="3105306"/>
            <a:ext cx="8386686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347300" y="2130426"/>
            <a:ext cx="8386686" cy="869098"/>
          </a:xfrm>
        </p:spPr>
        <p:txBody>
          <a:bodyPr/>
          <a:lstStyle>
            <a:lvl1pPr>
              <a:lnSpc>
                <a:spcPts val="3500"/>
              </a:lnSpc>
              <a:defRPr sz="3300" b="1" i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F680228-5811-461F-AF7B-B9E751A9A403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27784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349200" y="730800"/>
            <a:ext cx="1336675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defRPr/>
            </a:pPr>
            <a:r>
              <a:rPr lang="it-IT" sz="20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sr-Latn-RS" sz="200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Immagin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357188" y="1224439"/>
            <a:ext cx="8382000" cy="4861256"/>
          </a:xfrm>
        </p:spPr>
        <p:txBody>
          <a:bodyPr numCol="2" spcCol="216000">
            <a:noAutofit/>
          </a:bodyPr>
          <a:lstStyle>
            <a:lvl1pPr marL="171450" indent="-1714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31412952-15AF-4087-8D0A-4504DE7F8CC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5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4E2A4695-F45D-4A64-A293-1BC8763B9623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6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79082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5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Segnaposto contenuto 2"/>
          <p:cNvSpPr>
            <a:spLocks noGrp="1"/>
          </p:cNvSpPr>
          <p:nvPr>
            <p:ph sz="quarter" idx="15"/>
          </p:nvPr>
        </p:nvSpPr>
        <p:spPr>
          <a:xfrm>
            <a:off x="347663" y="1682750"/>
            <a:ext cx="8391525" cy="4378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6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7E084EE-3343-4D71-A8CD-272885A6AAE2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7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0659AD1-08EB-42ED-A5C9-CE0E9203B835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8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14048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8391525" cy="4378325"/>
          </a:xfrm>
        </p:spPr>
        <p:txBody>
          <a:bodyPr numCol="2" spcCol="180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18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19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5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E290F7-7F3D-479A-9AA8-380981840368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6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FB50DD8-FA0C-4B31-B98D-235E3CA9BB72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7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561597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6216650"/>
            <a:ext cx="4445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960" b="85913"/>
          <a:stretch>
            <a:fillRect/>
          </a:stretch>
        </p:blipFill>
        <p:spPr bwMode="auto">
          <a:xfrm>
            <a:off x="0" y="0"/>
            <a:ext cx="215900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347663" y="1682750"/>
            <a:ext cx="8391525" cy="4378325"/>
          </a:xfrm>
        </p:spPr>
        <p:txBody>
          <a:bodyPr/>
          <a:lstStyle>
            <a:lvl1pPr marL="0" indent="0" algn="l">
              <a:lnSpc>
                <a:spcPts val="2200"/>
              </a:lnSpc>
              <a:buClr>
                <a:schemeClr val="tx2"/>
              </a:buClr>
              <a:buFont typeface="Wingdings" charset="2"/>
              <a:buChar char="v"/>
              <a:defRPr sz="2000" b="1" i="0" baseline="0"/>
            </a:lvl1pPr>
            <a:lvl2pPr marL="0" indent="-180000">
              <a:lnSpc>
                <a:spcPts val="1600"/>
              </a:lnSpc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000" baseline="0"/>
            </a:lvl2pPr>
            <a:lvl3pPr marL="0" indent="-180000">
              <a:buFont typeface="Arial"/>
              <a:buChar char="•"/>
              <a:defRPr sz="1000"/>
            </a:lvl3pPr>
            <a:lvl4pPr marL="0" indent="-180000">
              <a:defRPr sz="1000"/>
            </a:lvl4pPr>
            <a:lvl5pPr marL="0" indent="-180000">
              <a:buFont typeface="Arial"/>
              <a:buChar char="•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17" name="Titolo 1"/>
          <p:cNvSpPr>
            <a:spLocks noGrp="1"/>
          </p:cNvSpPr>
          <p:nvPr>
            <p:ph type="ctrTitle"/>
          </p:nvPr>
        </p:nvSpPr>
        <p:spPr>
          <a:xfrm>
            <a:off x="347300" y="451877"/>
            <a:ext cx="8386686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t-IT" dirty="0"/>
          </a:p>
        </p:txBody>
      </p:sp>
      <p:sp>
        <p:nvSpPr>
          <p:cNvPr id="20" name="Sottotitolo 2"/>
          <p:cNvSpPr>
            <a:spLocks noGrp="1"/>
          </p:cNvSpPr>
          <p:nvPr>
            <p:ph type="subTitle" idx="1"/>
          </p:nvPr>
        </p:nvSpPr>
        <p:spPr>
          <a:xfrm>
            <a:off x="347300" y="1070623"/>
            <a:ext cx="8386686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 dirty="0"/>
          </a:p>
        </p:txBody>
      </p:sp>
      <p:sp>
        <p:nvSpPr>
          <p:cNvPr id="22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347300" y="273559"/>
            <a:ext cx="2223124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5"/>
          </p:nvPr>
        </p:nvSpPr>
        <p:spPr>
          <a:xfrm>
            <a:off x="8539163" y="273050"/>
            <a:ext cx="200025" cy="179388"/>
          </a:xfrm>
        </p:spPr>
        <p:txBody>
          <a:bodyPr lIns="0" tIns="0" rIns="0" bIns="0" anchor="t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A933244-6B2A-4F05-A2EA-A31C4F34ADD1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6"/>
          </p:nvPr>
        </p:nvSpPr>
        <p:spPr>
          <a:xfrm>
            <a:off x="3679825" y="6459538"/>
            <a:ext cx="798513" cy="114300"/>
          </a:xfrm>
        </p:spPr>
        <p:txBody>
          <a:bodyPr lIns="0" tIns="0" rIns="0" bIns="0" anchor="t" anchorCtr="0"/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528CE8C-D6E3-421F-8369-97DBE8DA783F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10" name="Segnaposto piè di pagina 4"/>
          <p:cNvSpPr>
            <a:spLocks noGrp="1"/>
          </p:cNvSpPr>
          <p:nvPr>
            <p:ph type="ftr" sz="quarter" idx="17"/>
          </p:nvPr>
        </p:nvSpPr>
        <p:spPr>
          <a:xfrm>
            <a:off x="4613275" y="6459538"/>
            <a:ext cx="2895600" cy="114300"/>
          </a:xfrm>
        </p:spPr>
        <p:txBody>
          <a:bodyPr lIns="0" tIns="0" rIns="0" bIns="0"/>
          <a:lstStyle>
            <a:lvl1pPr algn="l">
              <a:defRPr sz="700" baseline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it-IT"/>
              <a:t>Presentation 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5805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74720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egnaposto tito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455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Fare clic per modificare stile</a:t>
            </a:r>
          </a:p>
        </p:txBody>
      </p:sp>
      <p:sp>
        <p:nvSpPr>
          <p:cNvPr id="102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5080000" y="6356350"/>
            <a:ext cx="132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800156F-4CE7-43B2-B8A8-1CA69D5FD95F}" type="datetime4">
              <a:rPr lang="it-IT"/>
              <a:pPr>
                <a:defRPr/>
              </a:pPr>
              <a:t>14 giugno 2016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465888" y="6356350"/>
            <a:ext cx="15382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 dirty="0"/>
              <a:t>Presentation Title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266113" y="6356350"/>
            <a:ext cx="4206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63C00D7-3B98-445F-AB21-9A9126E84E16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81" r:id="rId2"/>
    <p:sldLayoutId id="2147483782" r:id="rId3"/>
    <p:sldLayoutId id="2147483783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4" r:id="rId23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/>
          <a:ea typeface="+mj-ea"/>
          <a:cs typeface="Arial Italic" pitchFamily="34" charset="0"/>
        </a:defRPr>
      </a:lvl1pPr>
      <a:lvl2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cs typeface="Arial Italic" pitchFamily="34" charset="0"/>
        </a:defRPr>
      </a:lvl2pPr>
      <a:lvl3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cs typeface="Arial Italic" pitchFamily="34" charset="0"/>
        </a:defRPr>
      </a:lvl3pPr>
      <a:lvl4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cs typeface="Arial Italic" pitchFamily="34" charset="0"/>
        </a:defRPr>
      </a:lvl4pPr>
      <a:lvl5pPr algn="l" defTabSz="457200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cs typeface="Arial Italic" pitchFamily="34" charset="0"/>
        </a:defRPr>
      </a:lvl5pPr>
      <a:lvl6pPr marL="4572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cs typeface="Arial Italic" pitchFamily="34" charset="0"/>
        </a:defRPr>
      </a:lvl6pPr>
      <a:lvl7pPr marL="9144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cs typeface="Arial Italic" pitchFamily="34" charset="0"/>
        </a:defRPr>
      </a:lvl7pPr>
      <a:lvl8pPr marL="13716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cs typeface="Arial Italic" pitchFamily="34" charset="0"/>
        </a:defRPr>
      </a:lvl8pPr>
      <a:lvl9pPr marL="18288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cs typeface="Arial Italic" pitchFamily="34" charset="0"/>
        </a:defRPr>
      </a:lvl9pPr>
    </p:titleStyle>
    <p:bodyStyle>
      <a:lvl1pPr marL="342900" indent="-342900" algn="l" defTabSz="457200" rtl="0" eaLnBrk="0" fontAlgn="base" hangingPunct="0">
        <a:lnSpc>
          <a:spcPts val="1200"/>
        </a:lnSpc>
        <a:spcBef>
          <a:spcPct val="0"/>
        </a:spcBef>
        <a:spcAft>
          <a:spcPct val="0"/>
        </a:spcAft>
        <a:defRPr sz="1200" b="1" kern="1200">
          <a:solidFill>
            <a:schemeClr val="tx1"/>
          </a:solidFill>
          <a:latin typeface="+mn-lt"/>
          <a:ea typeface="+mn-ea"/>
          <a:cs typeface="Arial Regular"/>
        </a:defRPr>
      </a:lvl1pPr>
      <a:lvl2pPr marL="358775" indent="-179388" algn="l" defTabSz="457200" rtl="0" eaLnBrk="0" fontAlgn="base" hangingPunct="0">
        <a:lnSpc>
          <a:spcPts val="12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Arial Regular"/>
        </a:defRPr>
      </a:lvl2pPr>
      <a:lvl3pPr marL="539750" indent="-179388" algn="l" defTabSz="457200" rtl="0" eaLnBrk="0" fontAlgn="base" hangingPunct="0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 kern="1200">
          <a:solidFill>
            <a:schemeClr val="tx1"/>
          </a:solidFill>
          <a:latin typeface="+mn-lt"/>
          <a:ea typeface="+mn-ea"/>
          <a:cs typeface="Arial Regular"/>
        </a:defRPr>
      </a:lvl3pPr>
      <a:lvl4pPr marL="733425" indent="-179388" algn="l" defTabSz="457200" rtl="0" eaLnBrk="0" fontAlgn="base" hangingPunct="0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Arial Regular"/>
        </a:defRPr>
      </a:lvl4pPr>
      <a:lvl5pPr marL="909638" indent="-179388" algn="l" defTabSz="457200" rtl="0" eaLnBrk="0" fontAlgn="base" hangingPunct="0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 kern="1200">
          <a:solidFill>
            <a:schemeClr val="tx1"/>
          </a:solidFill>
          <a:latin typeface="+mn-lt"/>
          <a:ea typeface="+mn-ea"/>
          <a:cs typeface="Arial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8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r-HR" sz="2100" dirty="0" smtClean="0"/>
              <a:t>Generali osiguranje d.d. </a:t>
            </a:r>
            <a:endParaRPr lang="hr-HR" sz="2100" dirty="0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hr-HR" i="1" dirty="0" smtClean="0"/>
              <a:t>Sigurnost pod okriljem lava</a:t>
            </a:r>
            <a:endParaRPr lang="hr-HR" i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943975" y="273050"/>
            <a:ext cx="200025" cy="179388"/>
          </a:xfrm>
        </p:spPr>
        <p:txBody>
          <a:bodyPr/>
          <a:lstStyle/>
          <a:p>
            <a:pPr>
              <a:defRPr/>
            </a:pPr>
            <a:fld id="{78E290F7-7F3D-479A-9AA8-380981840368}" type="slidenum">
              <a:rPr lang="it-IT" smtClean="0"/>
              <a:pPr>
                <a:defRPr/>
              </a:pPr>
              <a:t>1</a:t>
            </a:fld>
            <a:endParaRPr lang="it-IT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4294967295"/>
          </p:nvPr>
        </p:nvSpPr>
        <p:spPr>
          <a:xfrm>
            <a:off x="279400" y="6172195"/>
            <a:ext cx="2777067" cy="321734"/>
          </a:xfrm>
        </p:spPr>
        <p:txBody>
          <a:bodyPr/>
          <a:lstStyle/>
          <a:p>
            <a:pPr>
              <a:defRPr/>
            </a:pPr>
            <a:r>
              <a:rPr lang="hr-HR" sz="1400" dirty="0" smtClean="0">
                <a:solidFill>
                  <a:schemeClr val="accent4"/>
                </a:solidFill>
              </a:rPr>
              <a:t>Lipanj 2016.</a:t>
            </a:r>
            <a:endParaRPr lang="it-IT" sz="14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59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02" name="Oggetto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3" name="Rettangolo 43"/>
          <p:cNvSpPr>
            <a:spLocks noChangeArrowheads="1"/>
          </p:cNvSpPr>
          <p:nvPr/>
        </p:nvSpPr>
        <p:spPr bwMode="auto">
          <a:xfrm>
            <a:off x="7216775" y="4054475"/>
            <a:ext cx="611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r-HR" sz="1400" b="1">
                <a:solidFill>
                  <a:srgbClr val="FFFFFF"/>
                </a:solidFill>
                <a:latin typeface="Arial" pitchFamily="34" charset="0"/>
              </a:rPr>
              <a:t>Život</a:t>
            </a:r>
            <a:endParaRPr lang="it-IT" sz="1400">
              <a:solidFill>
                <a:srgbClr val="FFFFFF"/>
              </a:solidFill>
            </a:endParaRPr>
          </a:p>
        </p:txBody>
      </p:sp>
      <p:sp>
        <p:nvSpPr>
          <p:cNvPr id="51204" name="Rettangolo 47"/>
          <p:cNvSpPr>
            <a:spLocks noChangeArrowheads="1"/>
          </p:cNvSpPr>
          <p:nvPr/>
        </p:nvSpPr>
        <p:spPr bwMode="auto">
          <a:xfrm>
            <a:off x="5468938" y="4394200"/>
            <a:ext cx="16891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Izrazito brinemo o budućnosti i životima kako naših klijenata tako i naših djelatnika.</a:t>
            </a:r>
            <a:r>
              <a:rPr lang="en-US" sz="1000">
                <a:solidFill>
                  <a:srgbClr val="FFFFFF"/>
                </a:solidFill>
                <a:latin typeface="Arial" pitchFamily="34" charset="0"/>
              </a:rPr>
              <a:t> 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51205" name="Rettangolo 48"/>
          <p:cNvSpPr>
            <a:spLocks noChangeArrowheads="1"/>
          </p:cNvSpPr>
          <p:nvPr/>
        </p:nvSpPr>
        <p:spPr bwMode="auto">
          <a:xfrm>
            <a:off x="7226300" y="4392613"/>
            <a:ext cx="16160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U konačnici, utječemo na kvalitetu ljudskog života, blagostanje i sigurnost, stručnim savjetovanjem i profesionalnom uslugom.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51207" name="Segnaposto data 9"/>
          <p:cNvSpPr>
            <a:spLocks noGrp="1"/>
          </p:cNvSpPr>
          <p:nvPr>
            <p:ph type="dt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1C6DC6DA-D2B5-4376-BFB0-29C83E910B66}" type="datetime1">
              <a:rPr lang="hr-HR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.6.2016.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51208" name="Segnaposto numero diapositiva 3"/>
          <p:cNvSpPr>
            <a:spLocks noGrp="1"/>
          </p:cNvSpPr>
          <p:nvPr>
            <p:ph type="sldNum" sz="quarter" idx="1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442B3CA-DFC1-402B-8E73-F1EB740DBFE4}" type="slidenum">
              <a:rPr lang="it-IT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51209" name="Title 2"/>
          <p:cNvSpPr>
            <a:spLocks noGrp="1"/>
          </p:cNvSpPr>
          <p:nvPr>
            <p:ph type="ctrTitle"/>
          </p:nvPr>
        </p:nvSpPr>
        <p:spPr>
          <a:xfrm>
            <a:off x="347663" y="452438"/>
            <a:ext cx="8386762" cy="557212"/>
          </a:xfrm>
        </p:spPr>
        <p:txBody>
          <a:bodyPr/>
          <a:lstStyle/>
          <a:p>
            <a:pPr eaLnBrk="1" hangingPunct="1"/>
            <a:r>
              <a:rPr lang="hr-HR" smtClean="0">
                <a:latin typeface="Arial" pitchFamily="34" charset="0"/>
              </a:rPr>
              <a:t/>
            </a:r>
            <a:br>
              <a:rPr lang="hr-HR" smtClean="0">
                <a:latin typeface="Arial" pitchFamily="34" charset="0"/>
              </a:rPr>
            </a:br>
            <a:r>
              <a:rPr lang="hr-HR" smtClean="0">
                <a:latin typeface="Arial" pitchFamily="34" charset="0"/>
              </a:rPr>
              <a:t>Generali pogodnosti za članove HOK-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175" y="1921592"/>
            <a:ext cx="4479015" cy="3847207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Kasko osiguranje motornih vozila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AK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2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datnih</a:t>
            </a:r>
            <a:r>
              <a:rPr lang="hr-HR" sz="36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10%</a:t>
            </a:r>
            <a:r>
              <a:rPr lang="hr-HR" sz="36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opust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190" y="1921592"/>
            <a:ext cx="4667250" cy="3847207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76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50" name="Oggetto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251" name="Rettangolo 43"/>
          <p:cNvSpPr>
            <a:spLocks noChangeArrowheads="1"/>
          </p:cNvSpPr>
          <p:nvPr/>
        </p:nvSpPr>
        <p:spPr bwMode="auto">
          <a:xfrm>
            <a:off x="7216775" y="4054475"/>
            <a:ext cx="611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r-HR" sz="1400" b="1">
                <a:solidFill>
                  <a:srgbClr val="FFFFFF"/>
                </a:solidFill>
                <a:latin typeface="Arial" pitchFamily="34" charset="0"/>
              </a:rPr>
              <a:t>Život</a:t>
            </a:r>
            <a:endParaRPr lang="it-IT" sz="1400">
              <a:solidFill>
                <a:srgbClr val="FFFFFF"/>
              </a:solidFill>
            </a:endParaRPr>
          </a:p>
        </p:txBody>
      </p:sp>
      <p:sp>
        <p:nvSpPr>
          <p:cNvPr id="53252" name="Rettangolo 47"/>
          <p:cNvSpPr>
            <a:spLocks noChangeArrowheads="1"/>
          </p:cNvSpPr>
          <p:nvPr/>
        </p:nvSpPr>
        <p:spPr bwMode="auto">
          <a:xfrm>
            <a:off x="5468938" y="4394200"/>
            <a:ext cx="16891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Izrazito brinemo o budućnosti i životima kako naših klijenata tako i naših djelatnika.</a:t>
            </a:r>
            <a:r>
              <a:rPr lang="en-US" sz="1000">
                <a:solidFill>
                  <a:srgbClr val="FFFFFF"/>
                </a:solidFill>
                <a:latin typeface="Arial" pitchFamily="34" charset="0"/>
              </a:rPr>
              <a:t> 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53253" name="Rettangolo 48"/>
          <p:cNvSpPr>
            <a:spLocks noChangeArrowheads="1"/>
          </p:cNvSpPr>
          <p:nvPr/>
        </p:nvSpPr>
        <p:spPr bwMode="auto">
          <a:xfrm>
            <a:off x="7226300" y="4392613"/>
            <a:ext cx="16160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U konačnici, utječemo na kvalitetu ljudskog života, blagostanje i sigurnost, stručnim savjetovanjem i profesionalnom uslugom.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53255" name="Segnaposto data 9"/>
          <p:cNvSpPr>
            <a:spLocks noGrp="1"/>
          </p:cNvSpPr>
          <p:nvPr>
            <p:ph type="dt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6290FF5-F08B-472A-AF63-14E49C0707D6}" type="datetime1">
              <a:rPr lang="hr-HR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.6.2016.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53256" name="Segnaposto numero diapositiva 3"/>
          <p:cNvSpPr>
            <a:spLocks noGrp="1"/>
          </p:cNvSpPr>
          <p:nvPr>
            <p:ph type="sldNum" sz="quarter" idx="1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60F60B10-3E90-483F-B3DE-3A24FD303791}" type="slidenum">
              <a:rPr lang="it-IT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53257" name="Title 2"/>
          <p:cNvSpPr>
            <a:spLocks noGrp="1"/>
          </p:cNvSpPr>
          <p:nvPr>
            <p:ph type="ctrTitle"/>
          </p:nvPr>
        </p:nvSpPr>
        <p:spPr>
          <a:xfrm>
            <a:off x="347663" y="452438"/>
            <a:ext cx="8386762" cy="557212"/>
          </a:xfrm>
        </p:spPr>
        <p:txBody>
          <a:bodyPr/>
          <a:lstStyle/>
          <a:p>
            <a:pPr eaLnBrk="1" hangingPunct="1"/>
            <a:r>
              <a:rPr lang="hr-HR" smtClean="0">
                <a:latin typeface="Arial" pitchFamily="34" charset="0"/>
              </a:rPr>
              <a:t/>
            </a:r>
            <a:br>
              <a:rPr lang="hr-HR" smtClean="0">
                <a:latin typeface="Arial" pitchFamily="34" charset="0"/>
              </a:rPr>
            </a:br>
            <a:r>
              <a:rPr lang="hr-HR" smtClean="0">
                <a:latin typeface="Arial" pitchFamily="34" charset="0"/>
              </a:rPr>
              <a:t>Generali pogodnosti za članove HOK-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175" y="1921592"/>
            <a:ext cx="4479015" cy="3877985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hangingPunct="1"/>
            <a:endParaRPr lang="hr-HR" sz="1800">
              <a:solidFill>
                <a:srgbClr val="000000"/>
              </a:solidFill>
            </a:endParaRPr>
          </a:p>
          <a:p>
            <a:pPr algn="ctr" eaLnBrk="1" hangingPunct="1"/>
            <a:r>
              <a:rPr lang="hr-HR" sz="2400">
                <a:solidFill>
                  <a:srgbClr val="FFFFFF"/>
                </a:solidFill>
              </a:rPr>
              <a:t>Osiguranje</a:t>
            </a:r>
          </a:p>
          <a:p>
            <a:pPr algn="ctr" eaLnBrk="1" hangingPunct="1"/>
            <a:r>
              <a:rPr lang="hr-HR" sz="2400">
                <a:solidFill>
                  <a:srgbClr val="FFFFFF"/>
                </a:solidFill>
              </a:rPr>
              <a:t>OSOBA od posljedica nesretnog slučaja </a:t>
            </a:r>
            <a:r>
              <a:rPr lang="hr-HR" sz="360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NEZGODE</a:t>
            </a:r>
          </a:p>
          <a:p>
            <a:pPr algn="ctr" eaLnBrk="1" hangingPunct="1"/>
            <a:endParaRPr lang="hr-HR" sz="2400">
              <a:solidFill>
                <a:srgbClr val="FFFFFF"/>
              </a:solidFill>
            </a:endParaRPr>
          </a:p>
          <a:p>
            <a:pPr algn="ctr" eaLnBrk="1" hangingPunct="1"/>
            <a:r>
              <a:rPr lang="hr-HR" sz="2400">
                <a:solidFill>
                  <a:srgbClr val="FFFFFF"/>
                </a:solidFill>
              </a:rPr>
              <a:t>dodatnih</a:t>
            </a:r>
            <a:r>
              <a:rPr lang="hr-HR" sz="3600">
                <a:solidFill>
                  <a:srgbClr val="FFFFFF"/>
                </a:solidFill>
              </a:rPr>
              <a:t> </a:t>
            </a:r>
          </a:p>
          <a:p>
            <a:pPr algn="ctr" eaLnBrk="1" hangingPunct="1"/>
            <a:r>
              <a:rPr lang="hr-HR" sz="36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20%</a:t>
            </a:r>
            <a:r>
              <a:rPr lang="hr-HR" sz="3600">
                <a:solidFill>
                  <a:srgbClr val="FFFFFF"/>
                </a:solidFill>
              </a:rPr>
              <a:t> </a:t>
            </a:r>
          </a:p>
          <a:p>
            <a:pPr algn="ctr" eaLnBrk="1" hangingPunct="1"/>
            <a:r>
              <a:rPr lang="hr-HR" sz="2400">
                <a:solidFill>
                  <a:srgbClr val="FFFFFF"/>
                </a:solidFill>
              </a:rPr>
              <a:t>popusta</a:t>
            </a:r>
            <a:endParaRPr lang="hr-HR" sz="1800">
              <a:solidFill>
                <a:srgbClr val="FFFFFF"/>
              </a:solidFill>
            </a:endParaRPr>
          </a:p>
        </p:txBody>
      </p:sp>
      <p:pic>
        <p:nvPicPr>
          <p:cNvPr id="3174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190" y="1921592"/>
            <a:ext cx="4661810" cy="3877985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57403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Oggetto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299" name="Rettangolo 43"/>
          <p:cNvSpPr>
            <a:spLocks noChangeArrowheads="1"/>
          </p:cNvSpPr>
          <p:nvPr/>
        </p:nvSpPr>
        <p:spPr bwMode="auto">
          <a:xfrm>
            <a:off x="7216775" y="4054475"/>
            <a:ext cx="611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r-HR" sz="1400" b="1">
                <a:solidFill>
                  <a:srgbClr val="FFFFFF"/>
                </a:solidFill>
                <a:latin typeface="Arial" pitchFamily="34" charset="0"/>
              </a:rPr>
              <a:t>Život</a:t>
            </a:r>
            <a:endParaRPr lang="it-IT" sz="1400">
              <a:solidFill>
                <a:srgbClr val="FFFFFF"/>
              </a:solidFill>
            </a:endParaRPr>
          </a:p>
        </p:txBody>
      </p:sp>
      <p:sp>
        <p:nvSpPr>
          <p:cNvPr id="55300" name="Rettangolo 47"/>
          <p:cNvSpPr>
            <a:spLocks noChangeArrowheads="1"/>
          </p:cNvSpPr>
          <p:nvPr/>
        </p:nvSpPr>
        <p:spPr bwMode="auto">
          <a:xfrm>
            <a:off x="5468938" y="4394200"/>
            <a:ext cx="16891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Izrazito brinemo o budućnosti i životima kako naših klijenata tako i naših djelatnika.</a:t>
            </a:r>
            <a:r>
              <a:rPr lang="en-US" sz="1000">
                <a:solidFill>
                  <a:srgbClr val="FFFFFF"/>
                </a:solidFill>
                <a:latin typeface="Arial" pitchFamily="34" charset="0"/>
              </a:rPr>
              <a:t> 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55301" name="Rettangolo 48"/>
          <p:cNvSpPr>
            <a:spLocks noChangeArrowheads="1"/>
          </p:cNvSpPr>
          <p:nvPr/>
        </p:nvSpPr>
        <p:spPr bwMode="auto">
          <a:xfrm>
            <a:off x="7226300" y="4392613"/>
            <a:ext cx="16160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U konačnici, utječemo na kvalitetu ljudskog života, blagostanje i sigurnost, stručnim savjetovanjem i profesionalnom uslugom.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55303" name="Segnaposto data 9"/>
          <p:cNvSpPr>
            <a:spLocks noGrp="1"/>
          </p:cNvSpPr>
          <p:nvPr>
            <p:ph type="dt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7143D97D-61C0-4178-92DF-79BD3F06119D}" type="datetime1">
              <a:rPr lang="hr-HR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.6.2016.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55304" name="Segnaposto numero diapositiva 3"/>
          <p:cNvSpPr>
            <a:spLocks noGrp="1"/>
          </p:cNvSpPr>
          <p:nvPr>
            <p:ph type="sldNum" sz="quarter" idx="1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FBD8BEE-35F8-4E86-892B-836F1DF41283}" type="slidenum">
              <a:rPr lang="it-IT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55305" name="Title 2"/>
          <p:cNvSpPr>
            <a:spLocks noGrp="1"/>
          </p:cNvSpPr>
          <p:nvPr>
            <p:ph type="ctrTitle"/>
          </p:nvPr>
        </p:nvSpPr>
        <p:spPr>
          <a:xfrm>
            <a:off x="347663" y="452438"/>
            <a:ext cx="8386762" cy="557212"/>
          </a:xfrm>
        </p:spPr>
        <p:txBody>
          <a:bodyPr/>
          <a:lstStyle/>
          <a:p>
            <a:pPr eaLnBrk="1" hangingPunct="1"/>
            <a:r>
              <a:rPr lang="hr-HR" smtClean="0">
                <a:latin typeface="Arial" pitchFamily="34" charset="0"/>
              </a:rPr>
              <a:t/>
            </a:r>
            <a:br>
              <a:rPr lang="hr-HR" smtClean="0">
                <a:latin typeface="Arial" pitchFamily="34" charset="0"/>
              </a:rPr>
            </a:br>
            <a:r>
              <a:rPr lang="hr-HR" smtClean="0">
                <a:latin typeface="Arial" pitchFamily="34" charset="0"/>
              </a:rPr>
              <a:t>Generali pogodnosti za članove HOK-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175" y="1921592"/>
            <a:ext cx="4479015" cy="3693319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siguranj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IMOVIN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2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datnih</a:t>
            </a:r>
            <a:r>
              <a:rPr lang="hr-HR" sz="36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20%</a:t>
            </a:r>
            <a:r>
              <a:rPr lang="hr-HR" sz="36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opusta</a:t>
            </a:r>
            <a:endParaRPr lang="hr-HR" sz="2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190" y="1921592"/>
            <a:ext cx="4661810" cy="369332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859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ggetto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347" name="Rettangolo 43"/>
          <p:cNvSpPr>
            <a:spLocks noChangeArrowheads="1"/>
          </p:cNvSpPr>
          <p:nvPr/>
        </p:nvSpPr>
        <p:spPr bwMode="auto">
          <a:xfrm>
            <a:off x="7216775" y="4054475"/>
            <a:ext cx="611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r-HR" sz="1400" b="1">
                <a:solidFill>
                  <a:srgbClr val="FFFFFF"/>
                </a:solidFill>
                <a:latin typeface="Arial" pitchFamily="34" charset="0"/>
              </a:rPr>
              <a:t>Život</a:t>
            </a:r>
            <a:endParaRPr lang="it-IT" sz="1400">
              <a:solidFill>
                <a:srgbClr val="FFFFFF"/>
              </a:solidFill>
            </a:endParaRPr>
          </a:p>
        </p:txBody>
      </p:sp>
      <p:sp>
        <p:nvSpPr>
          <p:cNvPr id="57348" name="Rettangolo 47"/>
          <p:cNvSpPr>
            <a:spLocks noChangeArrowheads="1"/>
          </p:cNvSpPr>
          <p:nvPr/>
        </p:nvSpPr>
        <p:spPr bwMode="auto">
          <a:xfrm>
            <a:off x="5468938" y="4394200"/>
            <a:ext cx="16891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Izrazito brinemo o budućnosti i životima kako naših klijenata tako i naših djelatnika.</a:t>
            </a:r>
            <a:r>
              <a:rPr lang="en-US" sz="1000">
                <a:solidFill>
                  <a:srgbClr val="FFFFFF"/>
                </a:solidFill>
                <a:latin typeface="Arial" pitchFamily="34" charset="0"/>
              </a:rPr>
              <a:t> 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57349" name="Rettangolo 48"/>
          <p:cNvSpPr>
            <a:spLocks noChangeArrowheads="1"/>
          </p:cNvSpPr>
          <p:nvPr/>
        </p:nvSpPr>
        <p:spPr bwMode="auto">
          <a:xfrm>
            <a:off x="7226300" y="4392613"/>
            <a:ext cx="16160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U konačnici, utječemo na kvalitetu ljudskog života, blagostanje i sigurnost, stručnim savjetovanjem i profesionalnom uslugom.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57351" name="Segnaposto data 9"/>
          <p:cNvSpPr>
            <a:spLocks noGrp="1"/>
          </p:cNvSpPr>
          <p:nvPr>
            <p:ph type="dt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4D0E6BA7-B8AA-4384-82D5-D3A68FFBFE6C}" type="datetime1">
              <a:rPr lang="hr-HR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.6.2016.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57352" name="Segnaposto numero diapositiva 3"/>
          <p:cNvSpPr>
            <a:spLocks noGrp="1"/>
          </p:cNvSpPr>
          <p:nvPr>
            <p:ph type="sldNum" sz="quarter" idx="1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F849F3C-76A5-4EAF-9588-9CEEF1AAD1E9}" type="slidenum">
              <a:rPr lang="it-IT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57353" name="Title 2"/>
          <p:cNvSpPr>
            <a:spLocks noGrp="1"/>
          </p:cNvSpPr>
          <p:nvPr>
            <p:ph type="ctrTitle"/>
          </p:nvPr>
        </p:nvSpPr>
        <p:spPr>
          <a:xfrm>
            <a:off x="347663" y="452438"/>
            <a:ext cx="8386762" cy="557212"/>
          </a:xfrm>
        </p:spPr>
        <p:txBody>
          <a:bodyPr/>
          <a:lstStyle/>
          <a:p>
            <a:pPr eaLnBrk="1" hangingPunct="1"/>
            <a:r>
              <a:rPr lang="hr-HR" smtClean="0">
                <a:latin typeface="Arial" pitchFamily="34" charset="0"/>
              </a:rPr>
              <a:t/>
            </a:r>
            <a:br>
              <a:rPr lang="hr-HR" smtClean="0">
                <a:latin typeface="Arial" pitchFamily="34" charset="0"/>
              </a:rPr>
            </a:br>
            <a:r>
              <a:rPr lang="hr-HR" smtClean="0">
                <a:latin typeface="Arial" pitchFamily="34" charset="0"/>
              </a:rPr>
              <a:t>Generali pogodnosti za članove HOK-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175" y="1921592"/>
            <a:ext cx="4479015" cy="3693319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siguranj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ODGOVORNOST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2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datnih</a:t>
            </a:r>
            <a:r>
              <a:rPr lang="hr-HR" sz="36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10%</a:t>
            </a:r>
            <a:r>
              <a:rPr lang="hr-HR" sz="36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opusta</a:t>
            </a:r>
            <a:endParaRPr lang="hr-HR" sz="2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0723" name="Picture 3" descr="shutterstock_3933173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9014" y="1921592"/>
            <a:ext cx="4664985" cy="369331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185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0530" name="Oggetto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531" name="Rettangolo 43"/>
          <p:cNvSpPr>
            <a:spLocks noChangeArrowheads="1"/>
          </p:cNvSpPr>
          <p:nvPr/>
        </p:nvSpPr>
        <p:spPr bwMode="auto">
          <a:xfrm>
            <a:off x="7216775" y="4054475"/>
            <a:ext cx="611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r-HR" sz="1400" b="1">
                <a:solidFill>
                  <a:srgbClr val="FFFFFF"/>
                </a:solidFill>
                <a:latin typeface="Arial" pitchFamily="34" charset="0"/>
              </a:rPr>
              <a:t>Život</a:t>
            </a:r>
            <a:endParaRPr lang="it-IT" sz="1400">
              <a:solidFill>
                <a:srgbClr val="FFFFFF"/>
              </a:solidFill>
            </a:endParaRPr>
          </a:p>
        </p:txBody>
      </p:sp>
      <p:sp>
        <p:nvSpPr>
          <p:cNvPr id="150532" name="Rettangolo 47"/>
          <p:cNvSpPr>
            <a:spLocks noChangeArrowheads="1"/>
          </p:cNvSpPr>
          <p:nvPr/>
        </p:nvSpPr>
        <p:spPr bwMode="auto">
          <a:xfrm>
            <a:off x="5468938" y="4394200"/>
            <a:ext cx="16891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Izrazito brinemo o budućnosti i životima kako naših klijenata tako i naših djelatnika.</a:t>
            </a:r>
            <a:r>
              <a:rPr lang="en-US" sz="1000">
                <a:solidFill>
                  <a:srgbClr val="FFFFFF"/>
                </a:solidFill>
                <a:latin typeface="Arial" pitchFamily="34" charset="0"/>
              </a:rPr>
              <a:t> 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150533" name="Rettangolo 48"/>
          <p:cNvSpPr>
            <a:spLocks noChangeArrowheads="1"/>
          </p:cNvSpPr>
          <p:nvPr/>
        </p:nvSpPr>
        <p:spPr bwMode="auto">
          <a:xfrm>
            <a:off x="7226300" y="4392613"/>
            <a:ext cx="16160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U konačnici, utječemo na kvalitetu ljudskog života, blagostanje i sigurnost, stručnim savjetovanjem i profesionalnom uslugom.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150535" name="Segnaposto data 9"/>
          <p:cNvSpPr txBox="1">
            <a:spLocks noGrp="1"/>
          </p:cNvSpPr>
          <p:nvPr/>
        </p:nvSpPr>
        <p:spPr bwMode="auto">
          <a:xfrm>
            <a:off x="3679825" y="6459538"/>
            <a:ext cx="79851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hangingPunct="1"/>
            <a:fld id="{D3587D0F-B537-4B13-AE93-7E7272CC8CF1}" type="datetime1">
              <a:rPr lang="hr-HR" sz="700">
                <a:solidFill>
                  <a:srgbClr val="BD2027"/>
                </a:solidFill>
              </a:rPr>
              <a:pPr eaLnBrk="1" hangingPunct="1"/>
              <a:t>14.6.2016.</a:t>
            </a:fld>
            <a:endParaRPr lang="it-IT" sz="700">
              <a:solidFill>
                <a:srgbClr val="BD2027"/>
              </a:solidFill>
            </a:endParaRPr>
          </a:p>
        </p:txBody>
      </p:sp>
      <p:sp>
        <p:nvSpPr>
          <p:cNvPr id="150536" name="Segnaposto numero diapositiva 3"/>
          <p:cNvSpPr txBox="1">
            <a:spLocks noGrp="1"/>
          </p:cNvSpPr>
          <p:nvPr/>
        </p:nvSpPr>
        <p:spPr bwMode="auto">
          <a:xfrm>
            <a:off x="8539163" y="273050"/>
            <a:ext cx="200025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algn="r" eaLnBrk="1" hangingPunct="1"/>
            <a:fld id="{5EC9A65F-50DA-4425-9AB6-756A467139E2}" type="slidenum">
              <a:rPr lang="it-IT" sz="700">
                <a:solidFill>
                  <a:srgbClr val="BD2027"/>
                </a:solidFill>
              </a:rPr>
              <a:pPr algn="r" eaLnBrk="1" hangingPunct="1"/>
              <a:t>14</a:t>
            </a:fld>
            <a:endParaRPr lang="it-IT" sz="700">
              <a:solidFill>
                <a:srgbClr val="BD2027"/>
              </a:solidFill>
            </a:endParaRPr>
          </a:p>
        </p:txBody>
      </p:sp>
      <p:sp>
        <p:nvSpPr>
          <p:cNvPr id="150537" name="Title 2"/>
          <p:cNvSpPr>
            <a:spLocks noGrp="1"/>
          </p:cNvSpPr>
          <p:nvPr>
            <p:ph type="ctrTitle" idx="4294967295"/>
          </p:nvPr>
        </p:nvSpPr>
        <p:spPr>
          <a:xfrm>
            <a:off x="352425" y="452438"/>
            <a:ext cx="8386763" cy="557212"/>
          </a:xfrm>
        </p:spPr>
        <p:txBody>
          <a:bodyPr/>
          <a:lstStyle/>
          <a:p>
            <a:pPr eaLnBrk="1" hangingPunct="1">
              <a:lnSpc>
                <a:spcPts val="2200"/>
              </a:lnSpc>
            </a:pPr>
            <a:r>
              <a:rPr lang="hr-HR" sz="2000" b="0" smtClean="0">
                <a:solidFill>
                  <a:schemeClr val="tx2"/>
                </a:solidFill>
                <a:latin typeface="Arial" pitchFamily="34" charset="0"/>
              </a:rPr>
              <a:t/>
            </a:r>
            <a:br>
              <a:rPr lang="hr-HR" sz="2000" b="0" smtClean="0">
                <a:solidFill>
                  <a:schemeClr val="tx2"/>
                </a:solidFill>
                <a:latin typeface="Arial" pitchFamily="34" charset="0"/>
              </a:rPr>
            </a:br>
            <a:r>
              <a:rPr lang="hr-HR" sz="2000" b="0" smtClean="0">
                <a:solidFill>
                  <a:schemeClr val="tx2"/>
                </a:solidFill>
                <a:latin typeface="Arial" pitchFamily="34" charset="0"/>
              </a:rPr>
              <a:t>Generali pogodnosti za članove HOK-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80919" y="1923056"/>
            <a:ext cx="4463255" cy="4096341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algn="ctr" eaLnBrk="1" hangingPunct="1"/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Dopunsko zdravstveno osiguranje</a:t>
            </a:r>
          </a:p>
          <a:p>
            <a:pPr algn="ctr" eaLnBrk="1" hangingPunct="1"/>
            <a:endParaRPr lang="hr-HR" sz="2400" dirty="0">
              <a:solidFill>
                <a:schemeClr val="bg1"/>
              </a:solidFill>
            </a:endParaRPr>
          </a:p>
          <a:p>
            <a:pPr algn="ctr" eaLnBrk="1" hangingPunct="1"/>
            <a:r>
              <a:rPr lang="hr-HR" sz="2400" dirty="0">
                <a:solidFill>
                  <a:schemeClr val="bg1"/>
                </a:solidFill>
              </a:rPr>
              <a:t>dodatnih</a:t>
            </a:r>
            <a:r>
              <a:rPr lang="hr-HR" sz="3600" dirty="0">
                <a:solidFill>
                  <a:schemeClr val="bg1"/>
                </a:solidFill>
              </a:rPr>
              <a:t> </a:t>
            </a:r>
          </a:p>
          <a:p>
            <a:pPr algn="ctr" eaLnBrk="1" hangingPunct="1"/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10%</a:t>
            </a:r>
            <a:r>
              <a:rPr lang="hr-HR" sz="3600" dirty="0">
                <a:solidFill>
                  <a:schemeClr val="bg1"/>
                </a:solidFill>
              </a:rPr>
              <a:t> </a:t>
            </a:r>
          </a:p>
          <a:p>
            <a:pPr algn="ctr" eaLnBrk="1" hangingPunct="1"/>
            <a:r>
              <a:rPr lang="hr-HR" sz="2400" dirty="0">
                <a:solidFill>
                  <a:schemeClr val="bg1"/>
                </a:solidFill>
              </a:rPr>
              <a:t>popusta</a:t>
            </a:r>
            <a:endParaRPr lang="hr-HR" sz="2800" dirty="0">
              <a:solidFill>
                <a:schemeClr val="bg1"/>
              </a:solidFill>
            </a:endParaRPr>
          </a:p>
          <a:p>
            <a:pPr algn="ctr" eaLnBrk="1" hangingPunct="1"/>
            <a:endParaRPr lang="hr-HR" sz="1800" dirty="0">
              <a:solidFill>
                <a:schemeClr val="bg1"/>
              </a:solidFill>
            </a:endParaRPr>
          </a:p>
          <a:p>
            <a:pPr eaLnBrk="1" hangingPunct="1"/>
            <a:endParaRPr lang="hr-HR" sz="1800" dirty="0">
              <a:solidFill>
                <a:schemeClr val="bg1"/>
              </a:solidFill>
            </a:endParaRPr>
          </a:p>
        </p:txBody>
      </p:sp>
      <p:sp>
        <p:nvSpPr>
          <p:cNvPr id="150542" name="Text Box 14"/>
          <p:cNvSpPr txBox="1">
            <a:spLocks noChangeArrowheads="1"/>
          </p:cNvSpPr>
          <p:nvPr/>
        </p:nvSpPr>
        <p:spPr bwMode="auto">
          <a:xfrm>
            <a:off x="6162675" y="2460625"/>
            <a:ext cx="184150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defTabSz="914400" eaLnBrk="1" hangingPunct="1"/>
            <a:endParaRPr lang="hr-HR"/>
          </a:p>
        </p:txBody>
      </p:sp>
      <p:sp>
        <p:nvSpPr>
          <p:cNvPr id="150544" name="Text Box 16"/>
          <p:cNvSpPr txBox="1">
            <a:spLocks noChangeArrowheads="1"/>
          </p:cNvSpPr>
          <p:nvPr/>
        </p:nvSpPr>
        <p:spPr bwMode="auto">
          <a:xfrm>
            <a:off x="6070600" y="1951038"/>
            <a:ext cx="184150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defTabSz="914400" eaLnBrk="1" hangingPunct="1"/>
            <a:endParaRPr lang="hr-HR"/>
          </a:p>
        </p:txBody>
      </p:sp>
      <p:sp>
        <p:nvSpPr>
          <p:cNvPr id="150546" name="Text Box 18"/>
          <p:cNvSpPr txBox="1">
            <a:spLocks noChangeArrowheads="1"/>
          </p:cNvSpPr>
          <p:nvPr/>
        </p:nvSpPr>
        <p:spPr bwMode="auto">
          <a:xfrm>
            <a:off x="6070600" y="2020888"/>
            <a:ext cx="184150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defTabSz="914400" eaLnBrk="1" hangingPunct="1"/>
            <a:endParaRPr lang="hr-HR"/>
          </a:p>
        </p:txBody>
      </p:sp>
      <p:sp>
        <p:nvSpPr>
          <p:cNvPr id="150548" name="Text Box 20"/>
          <p:cNvSpPr txBox="1">
            <a:spLocks noChangeArrowheads="1"/>
          </p:cNvSpPr>
          <p:nvPr/>
        </p:nvSpPr>
        <p:spPr bwMode="auto">
          <a:xfrm>
            <a:off x="5978525" y="2090738"/>
            <a:ext cx="184150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defTabSz="914400" eaLnBrk="1" hangingPunct="1"/>
            <a:endParaRPr lang="hr-HR"/>
          </a:p>
        </p:txBody>
      </p:sp>
      <p:pic>
        <p:nvPicPr>
          <p:cNvPr id="150549" name="Picture 2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78" t="15878" r="16539" b="14038"/>
          <a:stretch>
            <a:fillRect/>
          </a:stretch>
        </p:blipFill>
        <p:spPr bwMode="auto">
          <a:xfrm>
            <a:off x="4643438" y="1908175"/>
            <a:ext cx="4364037" cy="371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4753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79400" y="2564975"/>
            <a:ext cx="8386686" cy="869098"/>
          </a:xfrm>
        </p:spPr>
        <p:txBody>
          <a:bodyPr/>
          <a:lstStyle/>
          <a:p>
            <a:pPr algn="ctr"/>
            <a:r>
              <a:rPr lang="hr-HR" sz="2100" dirty="0" smtClean="0"/>
              <a:t>Zahvaljujem na pažnji!</a:t>
            </a:r>
            <a:endParaRPr lang="hr-HR" sz="21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943975" y="273050"/>
            <a:ext cx="200025" cy="179388"/>
          </a:xfrm>
        </p:spPr>
        <p:txBody>
          <a:bodyPr/>
          <a:lstStyle/>
          <a:p>
            <a:pPr>
              <a:defRPr/>
            </a:pPr>
            <a:fld id="{78E290F7-7F3D-479A-9AA8-380981840368}" type="slidenum">
              <a:rPr lang="it-IT" smtClean="0"/>
              <a:pPr>
                <a:defRPr/>
              </a:pPr>
              <a:t>15</a:t>
            </a:fld>
            <a:endParaRPr lang="it-IT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4294967295"/>
          </p:nvPr>
        </p:nvSpPr>
        <p:spPr>
          <a:xfrm>
            <a:off x="279400" y="6172195"/>
            <a:ext cx="2777067" cy="321734"/>
          </a:xfrm>
        </p:spPr>
        <p:txBody>
          <a:bodyPr/>
          <a:lstStyle/>
          <a:p>
            <a:pPr>
              <a:defRPr/>
            </a:pPr>
            <a:r>
              <a:rPr lang="hr-HR" sz="1400" dirty="0" smtClean="0">
                <a:solidFill>
                  <a:schemeClr val="accent4"/>
                </a:solidFill>
              </a:rPr>
              <a:t>Svibanj 2016.</a:t>
            </a:r>
            <a:endParaRPr lang="it-IT" sz="14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521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47663" y="1405468"/>
            <a:ext cx="8391525" cy="4139120"/>
          </a:xfrm>
        </p:spPr>
        <p:txBody>
          <a:bodyPr/>
          <a:lstStyle/>
          <a:p>
            <a:pPr>
              <a:spcAft>
                <a:spcPts val="1000"/>
              </a:spcAft>
            </a:pPr>
            <a:r>
              <a:rPr lang="hr-HR" sz="1600" dirty="0"/>
              <a:t> </a:t>
            </a:r>
            <a:r>
              <a:rPr lang="hr-HR" sz="1600" b="0" dirty="0"/>
              <a:t>Više od 200 godina tradicije</a:t>
            </a:r>
          </a:p>
          <a:p>
            <a:pPr>
              <a:spcAft>
                <a:spcPts val="1000"/>
              </a:spcAft>
            </a:pPr>
            <a:r>
              <a:rPr lang="hr-HR" sz="1600" b="0" dirty="0"/>
              <a:t> Prisutnost u više od 60 </a:t>
            </a:r>
            <a:r>
              <a:rPr lang="hr-HR" sz="1600" b="0" dirty="0" smtClean="0"/>
              <a:t>zemalja svijeta</a:t>
            </a:r>
            <a:endParaRPr lang="hr-HR" sz="1600" b="0" dirty="0"/>
          </a:p>
          <a:p>
            <a:pPr>
              <a:spcAft>
                <a:spcPts val="1000"/>
              </a:spcAft>
            </a:pPr>
            <a:r>
              <a:rPr lang="hr-HR" sz="1600" b="0" dirty="0"/>
              <a:t> </a:t>
            </a:r>
            <a:r>
              <a:rPr lang="hr-HR" sz="1600" b="0" dirty="0" smtClean="0"/>
              <a:t>Više od 76.000 zaposlenih</a:t>
            </a:r>
          </a:p>
          <a:p>
            <a:pPr>
              <a:spcAft>
                <a:spcPts val="1000"/>
              </a:spcAft>
            </a:pPr>
            <a:r>
              <a:rPr lang="hr-HR" sz="1600" b="0" dirty="0"/>
              <a:t> </a:t>
            </a:r>
            <a:r>
              <a:rPr lang="hr-HR" sz="1600" b="0" dirty="0" smtClean="0"/>
              <a:t>Preko 74 milijardi eura premije u 2015. (+4,6%)</a:t>
            </a:r>
          </a:p>
          <a:p>
            <a:pPr>
              <a:spcAft>
                <a:spcPts val="1000"/>
              </a:spcAft>
            </a:pPr>
            <a:r>
              <a:rPr lang="hr-HR" sz="1600" b="0" dirty="0" smtClean="0"/>
              <a:t> Operativna dobit od 4,8 milijardi eura u 2015. (+6,1%)</a:t>
            </a:r>
          </a:p>
          <a:p>
            <a:pPr>
              <a:spcAft>
                <a:spcPts val="1000"/>
              </a:spcAft>
            </a:pPr>
            <a:r>
              <a:rPr lang="hr-HR" sz="1600" b="0" dirty="0" smtClean="0"/>
              <a:t> Upravljanje imovinom većom od 500 milijardi eura </a:t>
            </a:r>
            <a:endParaRPr lang="hr-HR" sz="1600" b="0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r-HR" dirty="0" smtClean="0"/>
              <a:t>Generali Grupa</a:t>
            </a:r>
            <a:endParaRPr lang="hr-H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4F680228-5811-461F-AF7B-B9E751A9A403}" type="slidenum">
              <a:rPr lang="it-IT" smtClean="0"/>
              <a:pPr>
                <a:defRPr/>
              </a:pPr>
              <a:t>2</a:t>
            </a:fld>
            <a:endParaRPr lang="it-IT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107" y="4055532"/>
            <a:ext cx="5401263" cy="2506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317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47663" y="1447800"/>
            <a:ext cx="8391525" cy="4096788"/>
          </a:xfrm>
        </p:spPr>
        <p:txBody>
          <a:bodyPr/>
          <a:lstStyle/>
          <a:p>
            <a:pPr>
              <a:spcAft>
                <a:spcPts val="1000"/>
              </a:spcAft>
            </a:pPr>
            <a:r>
              <a:rPr lang="hr-HR" sz="1600" dirty="0"/>
              <a:t> </a:t>
            </a:r>
            <a:r>
              <a:rPr lang="hr-HR" sz="1600" b="0" dirty="0" smtClean="0"/>
              <a:t>U Hrvatskoj od samog početka – 1832. Karlovac i Rijeka</a:t>
            </a:r>
          </a:p>
          <a:p>
            <a:pPr>
              <a:spcAft>
                <a:spcPts val="1000"/>
              </a:spcAft>
            </a:pPr>
            <a:r>
              <a:rPr lang="hr-HR" sz="1600" b="0" dirty="0" smtClean="0"/>
              <a:t> Povratak u Hrvatsku 2002. godine</a:t>
            </a:r>
          </a:p>
          <a:p>
            <a:pPr>
              <a:spcAft>
                <a:spcPts val="1000"/>
              </a:spcAft>
            </a:pPr>
            <a:r>
              <a:rPr lang="hr-HR" sz="1600" b="0" dirty="0" smtClean="0"/>
              <a:t> 2006. godine spajanje s Libertas osiguranjem d.d. </a:t>
            </a:r>
          </a:p>
          <a:p>
            <a:pPr>
              <a:spcAft>
                <a:spcPts val="1000"/>
              </a:spcAft>
            </a:pPr>
            <a:r>
              <a:rPr lang="hr-HR" sz="1600" b="0" dirty="0"/>
              <a:t> </a:t>
            </a:r>
            <a:r>
              <a:rPr lang="hr-HR" sz="1600" b="0" dirty="0" smtClean="0"/>
              <a:t>Kontinuiran rast premije i tržišnog udjela</a:t>
            </a:r>
          </a:p>
          <a:p>
            <a:pPr>
              <a:spcAft>
                <a:spcPts val="1000"/>
              </a:spcAft>
            </a:pPr>
            <a:r>
              <a:rPr lang="hr-HR" sz="1600" b="0" dirty="0"/>
              <a:t> </a:t>
            </a:r>
            <a:r>
              <a:rPr lang="hr-HR" sz="1600" b="0" dirty="0" smtClean="0"/>
              <a:t>Preko 160 tisuća klijenata</a:t>
            </a:r>
          </a:p>
          <a:p>
            <a:pPr>
              <a:spcAft>
                <a:spcPts val="1000"/>
              </a:spcAft>
            </a:pPr>
            <a:r>
              <a:rPr lang="hr-HR" sz="1600" b="0" dirty="0"/>
              <a:t> </a:t>
            </a:r>
            <a:r>
              <a:rPr lang="hr-HR" sz="1600" b="0" dirty="0" smtClean="0"/>
              <a:t>Više od 70 </a:t>
            </a:r>
            <a:r>
              <a:rPr lang="hr-HR" sz="1600" b="0" dirty="0" smtClean="0"/>
              <a:t>poslovnica</a:t>
            </a:r>
          </a:p>
          <a:p>
            <a:pPr lvl="1" indent="0">
              <a:lnSpc>
                <a:spcPts val="2200"/>
              </a:lnSpc>
              <a:spcAft>
                <a:spcPts val="1000"/>
              </a:spcAft>
              <a:buClr>
                <a:schemeClr val="tx2"/>
              </a:buClr>
              <a:buFont typeface="Wingdings" charset="2"/>
              <a:buChar char="v"/>
            </a:pPr>
            <a:r>
              <a:rPr lang="hr-HR" sz="1600" dirty="0"/>
              <a:t>Sjedište: Ulica grada Vukovara 284, 10000 Zagreb</a:t>
            </a:r>
          </a:p>
          <a:p>
            <a:pPr>
              <a:spcAft>
                <a:spcPts val="1000"/>
              </a:spcAft>
            </a:pPr>
            <a:endParaRPr lang="hr-HR" sz="1600" b="0" dirty="0" smtClean="0"/>
          </a:p>
          <a:p>
            <a:pPr>
              <a:spcAft>
                <a:spcPts val="1200"/>
              </a:spcAft>
              <a:buNone/>
            </a:pPr>
            <a:endParaRPr lang="hr-HR" sz="1800" b="0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r-HR" dirty="0" smtClean="0"/>
              <a:t>Generali osiguranje d.d. </a:t>
            </a:r>
            <a:endParaRPr lang="hr-H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4F680228-5811-461F-AF7B-B9E751A9A403}" type="slidenum">
              <a:rPr lang="it-IT" smtClean="0"/>
              <a:pPr>
                <a:defRPr/>
              </a:pPr>
              <a:t>3</a:t>
            </a:fld>
            <a:endParaRPr lang="it-IT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838" y="4276436"/>
            <a:ext cx="3417827" cy="228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692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1A933244-6B2A-4F05-A2EA-A31C4F34ADD1}" type="slidenum">
              <a:rPr lang="it-IT" smtClean="0"/>
              <a:pPr>
                <a:defRPr/>
              </a:pPr>
              <a:t>4</a:t>
            </a:fld>
            <a:endParaRPr lang="it-IT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03" y="1016000"/>
            <a:ext cx="8259233" cy="5082605"/>
          </a:xfrm>
          <a:prstGeom prst="rect">
            <a:avLst/>
          </a:prstGeom>
        </p:spPr>
      </p:pic>
      <p:sp>
        <p:nvSpPr>
          <p:cNvPr id="7" name="Title 9"/>
          <p:cNvSpPr txBox="1">
            <a:spLocks/>
          </p:cNvSpPr>
          <p:nvPr/>
        </p:nvSpPr>
        <p:spPr bwMode="auto">
          <a:xfrm>
            <a:off x="347300" y="451877"/>
            <a:ext cx="8386686" cy="557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 b="0" i="0" kern="1200" baseline="0">
                <a:solidFill>
                  <a:schemeClr val="tx2"/>
                </a:solidFill>
                <a:latin typeface="Arial"/>
                <a:ea typeface="+mj-ea"/>
                <a:cs typeface="Arial Italic" pitchFamily="34" charset="0"/>
              </a:defRPr>
            </a:lvl1pPr>
            <a:lvl2pPr algn="l" defTabSz="457200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itchFamily="34" charset="0"/>
                <a:cs typeface="Arial Italic" pitchFamily="34" charset="0"/>
              </a:defRPr>
            </a:lvl2pPr>
            <a:lvl3pPr algn="l" defTabSz="457200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itchFamily="34" charset="0"/>
                <a:cs typeface="Arial Italic" pitchFamily="34" charset="0"/>
              </a:defRPr>
            </a:lvl3pPr>
            <a:lvl4pPr algn="l" defTabSz="457200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itchFamily="34" charset="0"/>
                <a:cs typeface="Arial Italic" pitchFamily="34" charset="0"/>
              </a:defRPr>
            </a:lvl4pPr>
            <a:lvl5pPr algn="l" defTabSz="457200" rtl="0" eaLnBrk="0" fontAlgn="base" hangingPunct="0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itchFamily="34" charset="0"/>
                <a:cs typeface="Arial Italic" pitchFamily="34" charset="0"/>
              </a:defRPr>
            </a:lvl5pPr>
            <a:lvl6pPr marL="457200" algn="l" defTabSz="457200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itchFamily="34" charset="0"/>
                <a:cs typeface="Arial Italic" pitchFamily="34" charset="0"/>
              </a:defRPr>
            </a:lvl6pPr>
            <a:lvl7pPr marL="914400" algn="l" defTabSz="457200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itchFamily="34" charset="0"/>
                <a:cs typeface="Arial Italic" pitchFamily="34" charset="0"/>
              </a:defRPr>
            </a:lvl7pPr>
            <a:lvl8pPr marL="1371600" algn="l" defTabSz="457200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itchFamily="34" charset="0"/>
                <a:cs typeface="Arial Italic" pitchFamily="34" charset="0"/>
              </a:defRPr>
            </a:lvl8pPr>
            <a:lvl9pPr marL="1828800" algn="l" defTabSz="457200" rtl="0" fontAlgn="base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sz="3300" b="1">
                <a:solidFill>
                  <a:schemeClr val="tx1"/>
                </a:solidFill>
                <a:latin typeface="Arial" pitchFamily="34" charset="0"/>
                <a:cs typeface="Arial Italic" pitchFamily="34" charset="0"/>
              </a:defRPr>
            </a:lvl9pPr>
          </a:lstStyle>
          <a:p>
            <a:r>
              <a:rPr lang="hr-HR" dirty="0" smtClean="0"/>
              <a:t>Generali mreža poslovnica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615663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82" name="Oggetto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083" name="Rettangolo 43"/>
          <p:cNvSpPr>
            <a:spLocks noChangeArrowheads="1"/>
          </p:cNvSpPr>
          <p:nvPr/>
        </p:nvSpPr>
        <p:spPr bwMode="auto">
          <a:xfrm>
            <a:off x="7216775" y="4054475"/>
            <a:ext cx="611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r-HR" sz="1400" b="1">
                <a:solidFill>
                  <a:srgbClr val="FFFFFF"/>
                </a:solidFill>
                <a:latin typeface="Arial" pitchFamily="34" charset="0"/>
              </a:rPr>
              <a:t>Život</a:t>
            </a:r>
            <a:endParaRPr lang="it-IT" sz="1400">
              <a:solidFill>
                <a:srgbClr val="FFFFFF"/>
              </a:solidFill>
            </a:endParaRPr>
          </a:p>
        </p:txBody>
      </p:sp>
      <p:sp>
        <p:nvSpPr>
          <p:cNvPr id="46084" name="Rettangolo 47"/>
          <p:cNvSpPr>
            <a:spLocks noChangeArrowheads="1"/>
          </p:cNvSpPr>
          <p:nvPr/>
        </p:nvSpPr>
        <p:spPr bwMode="auto">
          <a:xfrm>
            <a:off x="5468938" y="4394200"/>
            <a:ext cx="16891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Izrazito brinemo o budućnosti i životima kako naših klijenata tako i naših djelatnika.</a:t>
            </a:r>
            <a:r>
              <a:rPr lang="en-US" sz="1000">
                <a:solidFill>
                  <a:srgbClr val="FFFFFF"/>
                </a:solidFill>
                <a:latin typeface="Arial" pitchFamily="34" charset="0"/>
              </a:rPr>
              <a:t> 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46085" name="Rettangolo 48"/>
          <p:cNvSpPr>
            <a:spLocks noChangeArrowheads="1"/>
          </p:cNvSpPr>
          <p:nvPr/>
        </p:nvSpPr>
        <p:spPr bwMode="auto">
          <a:xfrm>
            <a:off x="7226300" y="4392613"/>
            <a:ext cx="16160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U konačnici, utječemo na kvalitetu ljudskog života, blagostanje i sigurnost, stručnim savjetovanjem i profesionalnom uslugom.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46086" name="Titolo 57"/>
          <p:cNvSpPr>
            <a:spLocks noGrp="1"/>
          </p:cNvSpPr>
          <p:nvPr>
            <p:ph type="ctrTitle"/>
          </p:nvPr>
        </p:nvSpPr>
        <p:spPr>
          <a:xfrm>
            <a:off x="347663" y="452438"/>
            <a:ext cx="8386762" cy="557212"/>
          </a:xfrm>
        </p:spPr>
        <p:txBody>
          <a:bodyPr/>
          <a:lstStyle/>
          <a:p>
            <a:pPr eaLnBrk="1" hangingPunct="1"/>
            <a:r>
              <a:rPr lang="hr-HR" smtClean="0">
                <a:latin typeface="Arial" pitchFamily="34" charset="0"/>
              </a:rPr>
              <a:t> </a:t>
            </a:r>
            <a:br>
              <a:rPr lang="hr-HR" smtClean="0">
                <a:latin typeface="Arial" pitchFamily="34" charset="0"/>
              </a:rPr>
            </a:br>
            <a:r>
              <a:rPr lang="hr-HR" b="1" smtClean="0">
                <a:latin typeface="Arial" pitchFamily="34" charset="0"/>
              </a:rPr>
              <a:t>5 GENERALI PRISTUPA TRŽIŠTU</a:t>
            </a:r>
            <a:endParaRPr lang="it-IT" i="1" smtClean="0">
              <a:latin typeface="Arial" pitchFamily="34" charset="0"/>
            </a:endParaRPr>
          </a:p>
        </p:txBody>
      </p:sp>
      <p:sp>
        <p:nvSpPr>
          <p:cNvPr id="46088" name="Segnaposto data 9"/>
          <p:cNvSpPr>
            <a:spLocks noGrp="1"/>
          </p:cNvSpPr>
          <p:nvPr>
            <p:ph type="dt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464641E-AAB7-4A73-926C-718DF1A65A88}" type="datetime1">
              <a:rPr lang="hr-HR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.6.2016.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46089" name="Segnaposto numero diapositiva 3"/>
          <p:cNvSpPr>
            <a:spLocks noGrp="1"/>
          </p:cNvSpPr>
          <p:nvPr>
            <p:ph type="sldNum" sz="quarter" idx="1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F8BA9A95-C90E-494B-A50E-2D885748A90E}" type="slidenum">
              <a:rPr lang="it-IT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it-IT" smtClean="0">
              <a:solidFill>
                <a:srgbClr val="BD2027"/>
              </a:solidFill>
            </a:endParaRPr>
          </a:p>
        </p:txBody>
      </p:sp>
      <p:pic>
        <p:nvPicPr>
          <p:cNvPr id="46090" name="Picture 9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88" y="1604963"/>
            <a:ext cx="8193087" cy="4087812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656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r-HR" dirty="0" smtClean="0"/>
              <a:t>Naši proizvodi </a:t>
            </a:r>
            <a:endParaRPr lang="hr-H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A933244-6B2A-4F05-A2EA-A31C4F34ADD1}" type="slidenum">
              <a:rPr lang="it-IT" smtClean="0"/>
              <a:pPr>
                <a:defRPr/>
              </a:pPr>
              <a:t>6</a:t>
            </a:fld>
            <a:endParaRPr lang="it-IT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032152388"/>
              </p:ext>
            </p:extLst>
          </p:nvPr>
        </p:nvGraphicFramePr>
        <p:xfrm>
          <a:off x="885294" y="1591735"/>
          <a:ext cx="7488237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ounded Rectangular Callout 3"/>
          <p:cNvSpPr/>
          <p:nvPr/>
        </p:nvSpPr>
        <p:spPr>
          <a:xfrm>
            <a:off x="6502399" y="389467"/>
            <a:ext cx="2036763" cy="1012796"/>
          </a:xfrm>
          <a:prstGeom prst="wedgeRoundRectCallout">
            <a:avLst/>
          </a:prstGeom>
          <a:noFill/>
          <a:ln w="1270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r-HR" sz="1050" dirty="0" smtClean="0">
                <a:solidFill>
                  <a:schemeClr val="tx1"/>
                </a:solidFill>
                <a:effectLst/>
                <a:latin typeface="+mj-lt"/>
              </a:rPr>
              <a:t>Nova dopunska osiguranja: </a:t>
            </a:r>
          </a:p>
          <a:p>
            <a:pPr algn="ctr"/>
            <a:r>
              <a:rPr lang="hr-HR" sz="1050" dirty="0" smtClean="0">
                <a:solidFill>
                  <a:schemeClr val="tx1"/>
                </a:solidFill>
                <a:effectLst/>
                <a:latin typeface="+mj-lt"/>
              </a:rPr>
              <a:t>Halo majstore! </a:t>
            </a:r>
          </a:p>
          <a:p>
            <a:pPr algn="ctr"/>
            <a:r>
              <a:rPr lang="hr-HR" sz="1050" dirty="0" smtClean="0">
                <a:solidFill>
                  <a:schemeClr val="tx1"/>
                </a:solidFill>
                <a:effectLst/>
                <a:latin typeface="+mj-lt"/>
              </a:rPr>
              <a:t>Halo majstore! Halo doktore! </a:t>
            </a:r>
          </a:p>
          <a:p>
            <a:pPr algn="ctr"/>
            <a:r>
              <a:rPr lang="hr-HR" sz="1050" dirty="0" smtClean="0">
                <a:solidFill>
                  <a:schemeClr val="tx1"/>
                </a:solidFill>
                <a:effectLst/>
                <a:latin typeface="+mj-lt"/>
              </a:rPr>
              <a:t>Vau!Mijau!</a:t>
            </a:r>
            <a:endParaRPr lang="hr-HR" sz="1050" dirty="0"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3090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r-HR" dirty="0" smtClean="0"/>
              <a:t>Naši proizvodi </a:t>
            </a:r>
            <a:endParaRPr lang="hr-H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A933244-6B2A-4F05-A2EA-A31C4F34ADD1}" type="slidenum">
              <a:rPr lang="it-IT" smtClean="0"/>
              <a:pPr>
                <a:defRPr/>
              </a:pPr>
              <a:t>7</a:t>
            </a:fld>
            <a:endParaRPr lang="it-IT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37122310"/>
              </p:ext>
            </p:extLst>
          </p:nvPr>
        </p:nvGraphicFramePr>
        <p:xfrm>
          <a:off x="885294" y="1591735"/>
          <a:ext cx="7488237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3155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Oggetto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Rettangolo 43"/>
          <p:cNvSpPr>
            <a:spLocks noChangeArrowheads="1"/>
          </p:cNvSpPr>
          <p:nvPr/>
        </p:nvSpPr>
        <p:spPr bwMode="auto">
          <a:xfrm>
            <a:off x="7216775" y="4054475"/>
            <a:ext cx="611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r-HR" sz="1400" b="1">
                <a:solidFill>
                  <a:srgbClr val="FFFFFF"/>
                </a:solidFill>
                <a:latin typeface="Arial" pitchFamily="34" charset="0"/>
              </a:rPr>
              <a:t>Život</a:t>
            </a:r>
            <a:endParaRPr lang="it-IT" sz="1400">
              <a:solidFill>
                <a:srgbClr val="FFFFFF"/>
              </a:solidFill>
            </a:endParaRPr>
          </a:p>
        </p:txBody>
      </p:sp>
      <p:sp>
        <p:nvSpPr>
          <p:cNvPr id="47108" name="Rettangolo 47"/>
          <p:cNvSpPr>
            <a:spLocks noChangeArrowheads="1"/>
          </p:cNvSpPr>
          <p:nvPr/>
        </p:nvSpPr>
        <p:spPr bwMode="auto">
          <a:xfrm>
            <a:off x="5468938" y="4394200"/>
            <a:ext cx="16891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Izrazito brinemo o budućnosti i životima kako naših klijenata tako i naših djelatnika.</a:t>
            </a:r>
            <a:r>
              <a:rPr lang="en-US" sz="1000">
                <a:solidFill>
                  <a:srgbClr val="FFFFFF"/>
                </a:solidFill>
                <a:latin typeface="Arial" pitchFamily="34" charset="0"/>
              </a:rPr>
              <a:t> 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47109" name="Rettangolo 48"/>
          <p:cNvSpPr>
            <a:spLocks noChangeArrowheads="1"/>
          </p:cNvSpPr>
          <p:nvPr/>
        </p:nvSpPr>
        <p:spPr bwMode="auto">
          <a:xfrm>
            <a:off x="7226300" y="4392613"/>
            <a:ext cx="16160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U konačnici, utječemo na kvalitetu ljudskog života, blagostanje i sigurnost, stručnim savjetovanjem i profesionalnom uslugom.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47110" name="Titolo 57"/>
          <p:cNvSpPr>
            <a:spLocks noGrp="1"/>
          </p:cNvSpPr>
          <p:nvPr>
            <p:ph type="ctrTitle"/>
          </p:nvPr>
        </p:nvSpPr>
        <p:spPr>
          <a:xfrm>
            <a:off x="347663" y="452438"/>
            <a:ext cx="8386762" cy="557212"/>
          </a:xfrm>
        </p:spPr>
        <p:txBody>
          <a:bodyPr/>
          <a:lstStyle/>
          <a:p>
            <a:pPr eaLnBrk="1" hangingPunct="1"/>
            <a:r>
              <a:rPr lang="it-IT" dirty="0" smtClean="0">
                <a:latin typeface="Arial" pitchFamily="34" charset="0"/>
              </a:rPr>
              <a:t/>
            </a:r>
            <a:br>
              <a:rPr lang="it-IT" dirty="0" smtClean="0">
                <a:latin typeface="Arial" pitchFamily="34" charset="0"/>
              </a:rPr>
            </a:br>
            <a:r>
              <a:rPr lang="hr-HR" dirty="0" smtClean="0">
                <a:latin typeface="Arial" pitchFamily="34" charset="0"/>
              </a:rPr>
              <a:t>Provedba pogodnosti za članove HOK-a s ugovorom o poslovnoj suradnji</a:t>
            </a:r>
            <a:endParaRPr lang="it-IT" dirty="0" smtClean="0">
              <a:latin typeface="Arial" pitchFamily="34" charset="0"/>
            </a:endParaRPr>
          </a:p>
        </p:txBody>
      </p:sp>
      <p:sp>
        <p:nvSpPr>
          <p:cNvPr id="47112" name="Segnaposto data 9"/>
          <p:cNvSpPr>
            <a:spLocks noGrp="1"/>
          </p:cNvSpPr>
          <p:nvPr>
            <p:ph type="dt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8F2690C0-E3A1-47A8-81EE-DB592CC031C8}" type="datetime1">
              <a:rPr lang="hr-HR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.6.2016.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47113" name="Segnaposto numero diapositiva 3"/>
          <p:cNvSpPr>
            <a:spLocks noGrp="1"/>
          </p:cNvSpPr>
          <p:nvPr>
            <p:ph type="sldNum" sz="quarter" idx="1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E23F27-EF80-4CB6-9174-CC9F9676FC16}" type="slidenum">
              <a:rPr lang="it-IT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47114" name="TextBox 4"/>
          <p:cNvSpPr txBox="1">
            <a:spLocks noChangeArrowheads="1"/>
          </p:cNvSpPr>
          <p:nvPr/>
        </p:nvSpPr>
        <p:spPr bwMode="auto">
          <a:xfrm>
            <a:off x="347663" y="1860550"/>
            <a:ext cx="8494712" cy="492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6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6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6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6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6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6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6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r>
              <a:rPr lang="hr-HR" sz="1400" dirty="0">
                <a:solidFill>
                  <a:srgbClr val="7F7F7F"/>
                </a:solidFill>
              </a:rPr>
              <a:t>prema sjedištu obrta </a:t>
            </a: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4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r>
              <a:rPr lang="hr-HR" sz="1400" dirty="0">
                <a:solidFill>
                  <a:srgbClr val="7F7F7F"/>
                </a:solidFill>
              </a:rPr>
              <a:t>za članove Obrtničke komore pri ugovaranju osiguranja za imovinu ili osobe iz obrta</a:t>
            </a: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4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r>
              <a:rPr lang="hr-HR" sz="1400" dirty="0">
                <a:solidFill>
                  <a:srgbClr val="7F7F7F"/>
                </a:solidFill>
              </a:rPr>
              <a:t>imovina obrta = imovina koja se koristi za potrebe obrta</a:t>
            </a: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4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r>
              <a:rPr lang="hr-HR" sz="1400" dirty="0">
                <a:solidFill>
                  <a:srgbClr val="7F7F7F"/>
                </a:solidFill>
              </a:rPr>
              <a:t>osobe iz obrta = zaposlenici i vlasnici obrta</a:t>
            </a: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4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r>
              <a:rPr lang="hr-HR" sz="1400" dirty="0">
                <a:solidFill>
                  <a:srgbClr val="7F7F7F"/>
                </a:solidFill>
              </a:rPr>
              <a:t>ugovaratelj za police =&gt; osiguranik obrt ili korisnik leasinga</a:t>
            </a: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4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r>
              <a:rPr lang="hr-HR" sz="1400" dirty="0">
                <a:solidFill>
                  <a:srgbClr val="7F7F7F"/>
                </a:solidFill>
              </a:rPr>
              <a:t>preslika obrtničke iskaznice Komore/potvrda/plaćanje članarine/plaćanje komorskog doprinosa,...</a:t>
            </a: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4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600" dirty="0">
              <a:solidFill>
                <a:srgbClr val="7F7F7F"/>
              </a:solidFill>
            </a:endParaRPr>
          </a:p>
          <a:p>
            <a:pPr eaLnBrk="1" hangingPunct="1">
              <a:buClr>
                <a:srgbClr val="C00000"/>
              </a:buClr>
              <a:buFont typeface="Wingdings" pitchFamily="2" charset="2"/>
              <a:buChar char="Ø"/>
            </a:pPr>
            <a:endParaRPr lang="hr-HR" sz="1800" dirty="0">
              <a:solidFill>
                <a:srgbClr val="7F7F7F"/>
              </a:solidFill>
            </a:endParaRPr>
          </a:p>
        </p:txBody>
      </p:sp>
      <p:grpSp>
        <p:nvGrpSpPr>
          <p:cNvPr id="3" name="Rectangle 2"/>
          <p:cNvGrpSpPr>
            <a:grpSpLocks/>
          </p:cNvGrpSpPr>
          <p:nvPr/>
        </p:nvGrpSpPr>
        <p:grpSpPr bwMode="auto">
          <a:xfrm>
            <a:off x="700088" y="1306513"/>
            <a:ext cx="3157537" cy="1903412"/>
            <a:chOff x="1901" y="849"/>
            <a:chExt cx="1989" cy="2906"/>
          </a:xfrm>
        </p:grpSpPr>
        <p:pic>
          <p:nvPicPr>
            <p:cNvPr id="47115" name="Rectangle 2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1" y="849"/>
              <a:ext cx="1989" cy="1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116" name="Text Box 12"/>
            <p:cNvSpPr txBox="1">
              <a:spLocks noChangeArrowheads="1"/>
            </p:cNvSpPr>
            <p:nvPr/>
          </p:nvSpPr>
          <p:spPr bwMode="auto">
            <a:xfrm>
              <a:off x="1934" y="873"/>
              <a:ext cx="1921" cy="288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9pPr>
            </a:lstStyle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Zagreb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Istar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Varaždin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Koprivničko-križevač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Bjelovarsko-bilogor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Međimur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Ličko-senj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Udruženje obrtnika grada Karlovca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Osječko-baranjske županije</a:t>
              </a:r>
            </a:p>
            <a:p>
              <a:pPr eaLnBrk="1" hangingPunct="1"/>
              <a:endParaRPr lang="hr-HR" sz="1000">
                <a:solidFill>
                  <a:schemeClr val="bg1"/>
                </a:solidFill>
              </a:endParaRPr>
            </a:p>
          </p:txBody>
        </p:sp>
      </p:grpSp>
      <p:sp>
        <p:nvSpPr>
          <p:cNvPr id="47122" name="Text Box 18"/>
          <p:cNvSpPr txBox="1">
            <a:spLocks noChangeArrowheads="1"/>
          </p:cNvSpPr>
          <p:nvPr/>
        </p:nvSpPr>
        <p:spPr bwMode="auto">
          <a:xfrm>
            <a:off x="2279650" y="1960563"/>
            <a:ext cx="184150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defTabSz="914400" eaLnBrk="1" hangingPunct="1"/>
            <a:endParaRPr lang="hr-HR"/>
          </a:p>
        </p:txBody>
      </p:sp>
      <p:grpSp>
        <p:nvGrpSpPr>
          <p:cNvPr id="2" name="Rectangle 2"/>
          <p:cNvGrpSpPr>
            <a:grpSpLocks/>
          </p:cNvGrpSpPr>
          <p:nvPr/>
        </p:nvGrpSpPr>
        <p:grpSpPr bwMode="auto">
          <a:xfrm>
            <a:off x="4254500" y="1306513"/>
            <a:ext cx="3157538" cy="1920875"/>
            <a:chOff x="1901" y="849"/>
            <a:chExt cx="1989" cy="1339"/>
          </a:xfrm>
        </p:grpSpPr>
        <p:pic>
          <p:nvPicPr>
            <p:cNvPr id="47133" name="Rectangle 2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1" y="849"/>
              <a:ext cx="1989" cy="1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134" name="Text Box 30"/>
            <p:cNvSpPr txBox="1">
              <a:spLocks noChangeArrowheads="1"/>
            </p:cNvSpPr>
            <p:nvPr/>
          </p:nvSpPr>
          <p:spPr bwMode="auto">
            <a:xfrm>
              <a:off x="1934" y="872"/>
              <a:ext cx="1921" cy="131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Regular" charset="-18"/>
                  <a:ea typeface="Arial Regular" charset="-18"/>
                  <a:cs typeface="Arial Regular" charset="-18"/>
                </a:defRPr>
              </a:lvl9pPr>
            </a:lstStyle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Brodsko-posav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Primorsko-goran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Udruženje obrtnika Ogulin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 Zadar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 Dubrovačko-neretvansk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Virovitičko-podravkse županije</a:t>
              </a:r>
            </a:p>
            <a:p>
              <a:pPr eaLnBrk="1" hangingPunct="1"/>
              <a:r>
                <a:rPr lang="hr-HR" sz="1200">
                  <a:solidFill>
                    <a:schemeClr val="bg1"/>
                  </a:solidFill>
                </a:rPr>
                <a:t>HOK Požeško-slavonske županije</a:t>
              </a:r>
            </a:p>
            <a:p>
              <a:pPr eaLnBrk="1" hangingPunct="1"/>
              <a:endParaRPr lang="hr-HR" sz="1200">
                <a:solidFill>
                  <a:schemeClr val="bg1"/>
                </a:solidFill>
              </a:endParaRPr>
            </a:p>
            <a:p>
              <a:pPr eaLnBrk="1" hangingPunct="1"/>
              <a:endParaRPr lang="hr-HR" sz="1200">
                <a:solidFill>
                  <a:schemeClr val="bg1"/>
                </a:solidFill>
              </a:endParaRPr>
            </a:p>
            <a:p>
              <a:pPr eaLnBrk="1" hangingPunct="1"/>
              <a:endParaRPr lang="hr-HR" sz="10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160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ggetto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Rettangolo 43"/>
          <p:cNvSpPr>
            <a:spLocks noChangeArrowheads="1"/>
          </p:cNvSpPr>
          <p:nvPr/>
        </p:nvSpPr>
        <p:spPr bwMode="auto">
          <a:xfrm>
            <a:off x="7216775" y="4054475"/>
            <a:ext cx="6111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r-HR" sz="1400" b="1">
                <a:solidFill>
                  <a:srgbClr val="FFFFFF"/>
                </a:solidFill>
                <a:latin typeface="Arial" pitchFamily="34" charset="0"/>
              </a:rPr>
              <a:t>Život</a:t>
            </a:r>
            <a:endParaRPr lang="it-IT" sz="1400">
              <a:solidFill>
                <a:srgbClr val="FFFFFF"/>
              </a:solidFill>
            </a:endParaRPr>
          </a:p>
        </p:txBody>
      </p:sp>
      <p:sp>
        <p:nvSpPr>
          <p:cNvPr id="48132" name="Rettangolo 47"/>
          <p:cNvSpPr>
            <a:spLocks noChangeArrowheads="1"/>
          </p:cNvSpPr>
          <p:nvPr/>
        </p:nvSpPr>
        <p:spPr bwMode="auto">
          <a:xfrm>
            <a:off x="5468938" y="4394200"/>
            <a:ext cx="16891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Izrazito brinemo o budućnosti i životima kako naših klijenata tako i naših djelatnika.</a:t>
            </a:r>
            <a:r>
              <a:rPr lang="en-US" sz="1000">
                <a:solidFill>
                  <a:srgbClr val="FFFFFF"/>
                </a:solidFill>
                <a:latin typeface="Arial" pitchFamily="34" charset="0"/>
              </a:rPr>
              <a:t> 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48133" name="Rettangolo 48"/>
          <p:cNvSpPr>
            <a:spLocks noChangeArrowheads="1"/>
          </p:cNvSpPr>
          <p:nvPr/>
        </p:nvSpPr>
        <p:spPr bwMode="auto">
          <a:xfrm>
            <a:off x="7226300" y="4392613"/>
            <a:ext cx="1616075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hr-HR" sz="1000">
                <a:solidFill>
                  <a:srgbClr val="FFFFFF"/>
                </a:solidFill>
                <a:latin typeface="Arial" pitchFamily="34" charset="0"/>
              </a:rPr>
              <a:t>U konačnici, utječemo na kvalitetu ljudskog života, blagostanje i sigurnost, stručnim savjetovanjem i profesionalnom uslugom.</a:t>
            </a:r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48135" name="Segnaposto data 9"/>
          <p:cNvSpPr>
            <a:spLocks noGrp="1"/>
          </p:cNvSpPr>
          <p:nvPr>
            <p:ph type="dt" sz="quarter" idx="16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1A6ED1D4-419A-4882-B5A7-EAE43994444E}" type="datetime1">
              <a:rPr lang="hr-HR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.6.2016.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48136" name="Segnaposto numero diapositiva 3"/>
          <p:cNvSpPr>
            <a:spLocks noGrp="1"/>
          </p:cNvSpPr>
          <p:nvPr>
            <p:ph type="sldNum" sz="quarter" idx="1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 charset="-18"/>
                <a:ea typeface="Arial Regular" charset="-18"/>
                <a:cs typeface="Arial Regular" charset="-1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4438574-2655-4C00-8E48-7315A430CC55}" type="slidenum">
              <a:rPr lang="it-IT" smtClean="0">
                <a:solidFill>
                  <a:srgbClr val="BD2027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it-IT" smtClean="0">
              <a:solidFill>
                <a:srgbClr val="BD2027"/>
              </a:solidFill>
            </a:endParaRPr>
          </a:p>
        </p:txBody>
      </p:sp>
      <p:sp>
        <p:nvSpPr>
          <p:cNvPr id="48137" name="Title 2"/>
          <p:cNvSpPr>
            <a:spLocks noGrp="1"/>
          </p:cNvSpPr>
          <p:nvPr>
            <p:ph type="ctrTitle"/>
          </p:nvPr>
        </p:nvSpPr>
        <p:spPr>
          <a:xfrm>
            <a:off x="347663" y="452438"/>
            <a:ext cx="8386762" cy="557212"/>
          </a:xfrm>
        </p:spPr>
        <p:txBody>
          <a:bodyPr/>
          <a:lstStyle/>
          <a:p>
            <a:pPr eaLnBrk="1" hangingPunct="1"/>
            <a:r>
              <a:rPr lang="hr-HR" smtClean="0">
                <a:latin typeface="Arial" pitchFamily="34" charset="0"/>
              </a:rPr>
              <a:t/>
            </a:r>
            <a:br>
              <a:rPr lang="hr-HR" smtClean="0">
                <a:latin typeface="Arial" pitchFamily="34" charset="0"/>
              </a:rPr>
            </a:br>
            <a:r>
              <a:rPr lang="hr-HR" smtClean="0">
                <a:latin typeface="Arial" pitchFamily="34" charset="0"/>
              </a:rPr>
              <a:t>Generali pogodnosti za članove HOK-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1977954"/>
            <a:ext cx="4551201" cy="3970318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Obvezno osiguranje od automobilske odgovornosti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A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2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datnih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5%</a:t>
            </a:r>
            <a:r>
              <a:rPr lang="hr-HR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24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opust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24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8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7653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9014" y="1977954"/>
            <a:ext cx="4664985" cy="397031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018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zentacija PPT_predlozak_2014">
  <a:themeElements>
    <a:clrScheme name="Generali_colori_C">
      <a:dk1>
        <a:sysClr val="windowText" lastClr="000000"/>
      </a:dk1>
      <a:lt1>
        <a:sysClr val="window" lastClr="FFFFFF"/>
      </a:lt1>
      <a:dk2>
        <a:srgbClr val="BD2027"/>
      </a:dk2>
      <a:lt2>
        <a:srgbClr val="FEEEE6"/>
      </a:lt2>
      <a:accent1>
        <a:srgbClr val="BD2027"/>
      </a:accent1>
      <a:accent2>
        <a:srgbClr val="C25439"/>
      </a:accent2>
      <a:accent3>
        <a:srgbClr val="E9B09A"/>
      </a:accent3>
      <a:accent4>
        <a:srgbClr val="5C5D5F"/>
      </a:accent4>
      <a:accent5>
        <a:srgbClr val="CFD0D2"/>
      </a:accent5>
      <a:accent6>
        <a:srgbClr val="A1A3A4"/>
      </a:accent6>
      <a:hlink>
        <a:srgbClr val="BD2027"/>
      </a:hlink>
      <a:folHlink>
        <a:srgbClr val="C25439"/>
      </a:folHlink>
    </a:clrScheme>
    <a:fontScheme name="BE_typografia">
      <a:majorFont>
        <a:latin typeface="Arial Regular"/>
        <a:ea typeface="Arial Italic"/>
        <a:cs typeface=""/>
      </a:majorFont>
      <a:minorFont>
        <a:latin typeface="Arial Regular"/>
        <a:ea typeface="Arial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zentacija PPT_predlozak_2014</Template>
  <TotalTime>3546</TotalTime>
  <Words>709</Words>
  <Application>Microsoft Office PowerPoint</Application>
  <PresentationFormat>On-screen Show (4:3)</PresentationFormat>
  <Paragraphs>215</Paragraphs>
  <Slides>15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Prezentacija PPT_predlozak_2014</vt:lpstr>
      <vt:lpstr>think-cell Slide</vt:lpstr>
      <vt:lpstr>Generali osiguranje d.d. </vt:lpstr>
      <vt:lpstr>Generali Grupa</vt:lpstr>
      <vt:lpstr>Generali osiguranje d.d. </vt:lpstr>
      <vt:lpstr>PowerPoint Presentation</vt:lpstr>
      <vt:lpstr>  5 GENERALI PRISTUPA TRŽIŠTU</vt:lpstr>
      <vt:lpstr>Naši proizvodi </vt:lpstr>
      <vt:lpstr>Naši proizvodi </vt:lpstr>
      <vt:lpstr> Provedba pogodnosti za članove HOK-a s ugovorom o poslovnoj suradnji</vt:lpstr>
      <vt:lpstr> Generali pogodnosti za članove HOK-a</vt:lpstr>
      <vt:lpstr> Generali pogodnosti za članove HOK-a</vt:lpstr>
      <vt:lpstr> Generali pogodnosti za članove HOK-a</vt:lpstr>
      <vt:lpstr> Generali pogodnosti za članove HOK-a</vt:lpstr>
      <vt:lpstr> Generali pogodnosti za članove HOK-a</vt:lpstr>
      <vt:lpstr> Generali pogodnosti za članove HOK-a</vt:lpstr>
      <vt:lpstr>Zahvaljujem na pažnji!</vt:lpstr>
    </vt:vector>
  </TitlesOfParts>
  <Company>Generali osiguranje d.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Arial Bold 33/35pt</dc:title>
  <dc:creator>Damir Vukic</dc:creator>
  <cp:lastModifiedBy>Maja Ivanic</cp:lastModifiedBy>
  <cp:revision>447</cp:revision>
  <cp:lastPrinted>2013-10-04T10:49:32Z</cp:lastPrinted>
  <dcterms:created xsi:type="dcterms:W3CDTF">2014-05-15T10:51:22Z</dcterms:created>
  <dcterms:modified xsi:type="dcterms:W3CDTF">2016-06-14T16:16:54Z</dcterms:modified>
</cp:coreProperties>
</file>